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tags/tag27.xml" ContentType="application/vnd.openxmlformats-officedocument.presentationml.tags+xml"/>
  <Override PartName="/ppt/notesSlides/notesSlide7.xml" ContentType="application/vnd.openxmlformats-officedocument.presentationml.notesSlide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notesSlides/notesSlide9.xml" ContentType="application/vnd.openxmlformats-officedocument.presentationml.notesSlide+xml"/>
  <Override PartName="/ppt/tags/tag3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678" r:id="rId2"/>
    <p:sldMasterId id="2147483692" r:id="rId3"/>
  </p:sldMasterIdLst>
  <p:notesMasterIdLst>
    <p:notesMasterId r:id="rId16"/>
  </p:notesMasterIdLst>
  <p:sldIdLst>
    <p:sldId id="256" r:id="rId4"/>
    <p:sldId id="258" r:id="rId5"/>
    <p:sldId id="330" r:id="rId6"/>
    <p:sldId id="327" r:id="rId7"/>
    <p:sldId id="328" r:id="rId8"/>
    <p:sldId id="329" r:id="rId9"/>
    <p:sldId id="261" r:id="rId10"/>
    <p:sldId id="332" r:id="rId11"/>
    <p:sldId id="331" r:id="rId12"/>
    <p:sldId id="333" r:id="rId13"/>
    <p:sldId id="334" r:id="rId14"/>
    <p:sldId id="325" r:id="rId15"/>
  </p:sldIdLst>
  <p:sldSz cx="12192000" cy="6858000"/>
  <p:notesSz cx="6858000" cy="91440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Franklin Gothic" panose="020B0604020202020204" charset="0"/>
      <p:regular r:id="rId21"/>
      <p:bold r:id="rId22"/>
      <p:italic r:id="rId23"/>
      <p:boldItalic r:id="rId24"/>
    </p:embeddedFont>
    <p:embeddedFont>
      <p:font typeface="Libre Franklin" pitchFamily="2" charset="0"/>
      <p:regular r:id="rId25"/>
      <p:bold r:id="rId26"/>
      <p:italic r:id="rId27"/>
      <p:boldItalic r:id="rId28"/>
    </p:embeddedFont>
    <p:embeddedFont>
      <p:font typeface="Noto Sans Symbols" panose="020B0604020202020204" charset="0"/>
      <p:regular r:id="rId29"/>
      <p:bold r:id="rId30"/>
    </p:embeddedFont>
  </p:embeddedFontLst>
  <p:custDataLst>
    <p:tags r:id="rId3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108" roundtripDataSignature="AMtx7mjw5ifylb7RQT2Fh98LyZjqulVRS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39" d="100"/>
          <a:sy n="39" d="100"/>
        </p:scale>
        <p:origin x="1684" y="4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109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5.fntdata"/><Relationship Id="rId112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108" Type="http://customschemas.google.com/relationships/presentationmetadata" Target="metadata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font" Target="fonts/font13.fntdata"/><Relationship Id="rId11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font" Target="fonts/font8.fntdata"/><Relationship Id="rId110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10" Type="http://schemas.openxmlformats.org/officeDocument/2006/relationships/slide" Target="slides/slide7.xml"/><Relationship Id="rId19" Type="http://schemas.openxmlformats.org/officeDocument/2006/relationships/font" Target="fonts/font3.fntdata"/><Relationship Id="rId31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font" Target="fonts/font14.fntdata"/><Relationship Id="rId8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fr-FR"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fr-FR"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fr-FR" dirty="0"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fr-FR"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rtl="0">
              <a:defRPr/>
            </a:lvl1pPr>
          </a:lstStyle>
          <a:p>
            <a:pPr algn="r"/>
            <a:fld id="{00000000-1234-1234-1234-123412341234}" type="slidenum">
              <a:rPr lang="fr-FR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/>
              <a:t>‹#›</a:t>
            </a:fld>
            <a:endParaRPr lang="fr-FR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9" name="Google Shape;349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fr-FR" dirty="0"/>
          </a:p>
        </p:txBody>
      </p:sp>
      <p:sp>
        <p:nvSpPr>
          <p:cNvPr id="350" name="Google Shape;350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 smtClean="0"/>
              <a:pPr marL="0" lvl="0" indent="0" algn="r">
                <a:spcBef>
                  <a:spcPts val="0"/>
                </a:spcBef>
                <a:spcAft>
                  <a:spcPts val="0"/>
                </a:spcAft>
                <a:buNone/>
              </a:pPr>
              <a:t>1</a:t>
            </a:fld>
            <a:endParaRPr lang="fr-FR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4" name="Google Shape;404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fr-FR" dirty="0"/>
          </a:p>
        </p:txBody>
      </p:sp>
      <p:sp>
        <p:nvSpPr>
          <p:cNvPr id="405" name="Google Shape;405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 smtClean="0"/>
              <a:pPr marL="0" lvl="0" indent="0" algn="r">
                <a:spcBef>
                  <a:spcPts val="0"/>
                </a:spcBef>
                <a:spcAft>
                  <a:spcPts val="0"/>
                </a:spcAft>
                <a:buNone/>
              </a:pPr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732002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7" name="Google Shape;2307;p7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08" name="Google Shape;2308;p7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fr-FR" dirty="0"/>
          </a:p>
        </p:txBody>
      </p:sp>
      <p:sp>
        <p:nvSpPr>
          <p:cNvPr id="2309" name="Google Shape;2309;p7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 smtClean="0"/>
              <a:pPr marL="0" lvl="0" indent="0" algn="r">
                <a:spcBef>
                  <a:spcPts val="0"/>
                </a:spcBef>
                <a:spcAft>
                  <a:spcPts val="0"/>
                </a:spcAft>
                <a:buNone/>
              </a:pPr>
              <a:t>12</a:t>
            </a:fld>
            <a:endParaRPr lang="fr-FR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fr-FR" dirty="0"/>
          </a:p>
        </p:txBody>
      </p:sp>
      <p:sp>
        <p:nvSpPr>
          <p:cNvPr id="363" name="Google Shape;36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22" name="Google Shape;52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9" name="Google Shape;799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00" name="Google Shape;800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1" name="Google Shape;801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</a:rPr>
              <a:t>4</a:t>
            </a:fld>
            <a:endParaRPr sz="1200" b="0" i="0" u="none" strike="noStrike" cap="none">
              <a:solidFill>
                <a:schemeClr val="dk1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4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6" name="Google Shape;906;p1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8" name="Google Shape;588;p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89" name="Google Shape;589;p3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90" name="Google Shape;590;p3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6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4" name="Google Shape;404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fr-FR" dirty="0"/>
          </a:p>
        </p:txBody>
      </p:sp>
      <p:sp>
        <p:nvSpPr>
          <p:cNvPr id="405" name="Google Shape;405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 smtClean="0"/>
              <a:pPr marL="0" lvl="0" indent="0" algn="r">
                <a:spcBef>
                  <a:spcPts val="0"/>
                </a:spcBef>
                <a:spcAft>
                  <a:spcPts val="0"/>
                </a:spcAft>
                <a:buNone/>
              </a:pPr>
              <a:t>7</a:t>
            </a:fld>
            <a:endParaRPr lang="fr-FR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Google Shape;409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10" name="Google Shape;410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fr-FR" dirty="0"/>
          </a:p>
        </p:txBody>
      </p:sp>
      <p:sp>
        <p:nvSpPr>
          <p:cNvPr id="411" name="Google Shape;411;p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fr-FR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</a:t>
            </a:fld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71217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Google Shape;409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10" name="Google Shape;410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fr-FR" dirty="0"/>
          </a:p>
        </p:txBody>
      </p:sp>
      <p:sp>
        <p:nvSpPr>
          <p:cNvPr id="411" name="Google Shape;411;p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fr-FR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</a:t>
            </a:fld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2424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jp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infomineo.com/" TargetMode="External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6.bin"/><Relationship Id="rId7" Type="http://schemas.openxmlformats.org/officeDocument/2006/relationships/hyperlink" Target="https://infomineo.com/insights/blog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11" Type="http://schemas.openxmlformats.org/officeDocument/2006/relationships/image" Target="../media/image5.png"/><Relationship Id="rId5" Type="http://schemas.openxmlformats.org/officeDocument/2006/relationships/hyperlink" Target="https://www.linkedin.com/company-beta/2416143/admin/updates/" TargetMode="External"/><Relationship Id="rId10" Type="http://schemas.openxmlformats.org/officeDocument/2006/relationships/image" Target="../media/image9.png"/><Relationship Id="rId4" Type="http://schemas.openxmlformats.org/officeDocument/2006/relationships/image" Target="../media/image3.emf"/><Relationship Id="rId9" Type="http://schemas.openxmlformats.org/officeDocument/2006/relationships/hyperlink" Target="https://www.facebook.com/Infomineo/" TargetMode="Externa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1)" type="title">
  <p:cSld name="TITLE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013B967-5763-A205-AB33-4ED5BC00E0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3070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Google Shape;33;p72" descr="A large body of water with a city in the background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 l="-1" t="-4" r="-1" b="-4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72"/>
          <p:cNvSpPr/>
          <p:nvPr/>
        </p:nvSpPr>
        <p:spPr>
          <a:xfrm>
            <a:off x="536448" y="0"/>
            <a:ext cx="6363291" cy="1475219"/>
          </a:xfrm>
          <a:prstGeom prst="rect">
            <a:avLst/>
          </a:prstGeom>
          <a:gradFill>
            <a:gsLst>
              <a:gs pos="0">
                <a:srgbClr val="062379"/>
              </a:gs>
              <a:gs pos="45000">
                <a:srgbClr val="062379">
                  <a:alpha val="89803"/>
                </a:srgbClr>
              </a:gs>
              <a:gs pos="100000">
                <a:srgbClr val="0934B6">
                  <a:alpha val="80000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fr-FR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72"/>
          <p:cNvSpPr/>
          <p:nvPr/>
        </p:nvSpPr>
        <p:spPr>
          <a:xfrm>
            <a:off x="536448" y="1844676"/>
            <a:ext cx="6363291" cy="5013324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9803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9803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fr-FR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36;p72"/>
          <p:cNvSpPr txBox="1">
            <a:spLocks noGrp="1"/>
          </p:cNvSpPr>
          <p:nvPr>
            <p:ph type="ctrTitle"/>
          </p:nvPr>
        </p:nvSpPr>
        <p:spPr>
          <a:xfrm>
            <a:off x="902896" y="3605295"/>
            <a:ext cx="5478239" cy="692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b="0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37" name="Google Shape;37;p72"/>
          <p:cNvSpPr txBox="1">
            <a:spLocks noGrp="1"/>
          </p:cNvSpPr>
          <p:nvPr>
            <p:ph type="subTitle" idx="1"/>
          </p:nvPr>
        </p:nvSpPr>
        <p:spPr>
          <a:xfrm>
            <a:off x="902896" y="4348579"/>
            <a:ext cx="5478239" cy="420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pic>
        <p:nvPicPr>
          <p:cNvPr id="38" name="Google Shape;38;p72"/>
          <p:cNvPicPr preferRelativeResize="0"/>
          <p:nvPr/>
        </p:nvPicPr>
        <p:blipFill rotWithShape="1">
          <a:blip r:embed="rId6">
            <a:alphaModFix/>
          </a:blip>
          <a:srcRect l="738" r="729"/>
          <a:stretch/>
        </p:blipFill>
        <p:spPr>
          <a:xfrm>
            <a:off x="902896" y="450469"/>
            <a:ext cx="2497454" cy="574280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39;p72"/>
          <p:cNvSpPr txBox="1"/>
          <p:nvPr/>
        </p:nvSpPr>
        <p:spPr>
          <a:xfrm>
            <a:off x="902905" y="5825205"/>
            <a:ext cx="1302000" cy="19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286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&lt;Date&gt;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 Layout">
  <p:cSld name="3 Column Layout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A5019D-9256-B1C4-7F0F-2CF4CBCE0E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2546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1" name="Google Shape;211;p9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212" name="Google Shape;212;p91"/>
          <p:cNvSpPr txBox="1">
            <a:spLocks noGrp="1"/>
          </p:cNvSpPr>
          <p:nvPr>
            <p:ph type="ftr" idx="11"/>
          </p:nvPr>
        </p:nvSpPr>
        <p:spPr>
          <a:xfrm>
            <a:off x="550862" y="6450225"/>
            <a:ext cx="95539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213" name="Google Shape;213;p9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14" name="Google Shape;214;p91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3506976" cy="332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15" name="Google Shape;215;p91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3506976" cy="3913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16" name="Google Shape;216;p91"/>
          <p:cNvSpPr txBox="1">
            <a:spLocks noGrp="1"/>
          </p:cNvSpPr>
          <p:nvPr>
            <p:ph type="body" idx="3"/>
          </p:nvPr>
        </p:nvSpPr>
        <p:spPr>
          <a:xfrm>
            <a:off x="8135839" y="2175803"/>
            <a:ext cx="3505300" cy="332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17" name="Google Shape;217;p91"/>
          <p:cNvSpPr txBox="1">
            <a:spLocks noGrp="1"/>
          </p:cNvSpPr>
          <p:nvPr>
            <p:ph type="body" idx="4"/>
          </p:nvPr>
        </p:nvSpPr>
        <p:spPr>
          <a:xfrm>
            <a:off x="8135839" y="1857375"/>
            <a:ext cx="3505300" cy="3913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18" name="Google Shape;218;p91"/>
          <p:cNvSpPr txBox="1">
            <a:spLocks noGrp="1"/>
          </p:cNvSpPr>
          <p:nvPr>
            <p:ph type="body" idx="5"/>
          </p:nvPr>
        </p:nvSpPr>
        <p:spPr>
          <a:xfrm>
            <a:off x="4344162" y="2175803"/>
            <a:ext cx="3505300" cy="332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19" name="Google Shape;219;p91"/>
          <p:cNvSpPr txBox="1">
            <a:spLocks noGrp="1"/>
          </p:cNvSpPr>
          <p:nvPr>
            <p:ph type="body" idx="6"/>
          </p:nvPr>
        </p:nvSpPr>
        <p:spPr>
          <a:xfrm>
            <a:off x="4344162" y="1857375"/>
            <a:ext cx="3505300" cy="3913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 Layout">
  <p:cSld name="5 Column Layout"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4FF62CA-DCD2-21C6-3420-03164CD029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6623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1" name="Google Shape;221;p92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222" name="Google Shape;222;p92"/>
          <p:cNvSpPr txBox="1">
            <a:spLocks noGrp="1"/>
          </p:cNvSpPr>
          <p:nvPr>
            <p:ph type="ftr" idx="11"/>
          </p:nvPr>
        </p:nvSpPr>
        <p:spPr>
          <a:xfrm>
            <a:off x="550862" y="6450225"/>
            <a:ext cx="95539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223" name="Google Shape;223;p9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24" name="Google Shape;224;p92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1983600" cy="332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25" name="Google Shape;225;p92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1983600" cy="3913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26" name="Google Shape;226;p92"/>
          <p:cNvSpPr txBox="1">
            <a:spLocks noGrp="1"/>
          </p:cNvSpPr>
          <p:nvPr>
            <p:ph type="body" idx="3"/>
          </p:nvPr>
        </p:nvSpPr>
        <p:spPr>
          <a:xfrm>
            <a:off x="5104050" y="2175803"/>
            <a:ext cx="1980034" cy="332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27" name="Google Shape;227;p92"/>
          <p:cNvSpPr txBox="1">
            <a:spLocks noGrp="1"/>
          </p:cNvSpPr>
          <p:nvPr>
            <p:ph type="body" idx="4"/>
          </p:nvPr>
        </p:nvSpPr>
        <p:spPr>
          <a:xfrm>
            <a:off x="5104050" y="1857375"/>
            <a:ext cx="1980034" cy="3913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28" name="Google Shape;228;p92"/>
          <p:cNvSpPr txBox="1">
            <a:spLocks noGrp="1"/>
          </p:cNvSpPr>
          <p:nvPr>
            <p:ph type="body" idx="5"/>
          </p:nvPr>
        </p:nvSpPr>
        <p:spPr>
          <a:xfrm>
            <a:off x="2827457" y="2175803"/>
            <a:ext cx="1983600" cy="332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29" name="Google Shape;229;p92"/>
          <p:cNvSpPr txBox="1">
            <a:spLocks noGrp="1"/>
          </p:cNvSpPr>
          <p:nvPr>
            <p:ph type="body" idx="6"/>
          </p:nvPr>
        </p:nvSpPr>
        <p:spPr>
          <a:xfrm>
            <a:off x="2827457" y="1857375"/>
            <a:ext cx="1983600" cy="3913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30" name="Google Shape;230;p92"/>
          <p:cNvSpPr txBox="1">
            <a:spLocks noGrp="1"/>
          </p:cNvSpPr>
          <p:nvPr>
            <p:ph type="body" idx="7"/>
          </p:nvPr>
        </p:nvSpPr>
        <p:spPr>
          <a:xfrm>
            <a:off x="7380643" y="2175803"/>
            <a:ext cx="1980034" cy="332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31" name="Google Shape;231;p92"/>
          <p:cNvSpPr txBox="1">
            <a:spLocks noGrp="1"/>
          </p:cNvSpPr>
          <p:nvPr>
            <p:ph type="body" idx="8"/>
          </p:nvPr>
        </p:nvSpPr>
        <p:spPr>
          <a:xfrm>
            <a:off x="7380643" y="1857375"/>
            <a:ext cx="1980034" cy="3913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32" name="Google Shape;232;p92"/>
          <p:cNvSpPr txBox="1">
            <a:spLocks noGrp="1"/>
          </p:cNvSpPr>
          <p:nvPr>
            <p:ph type="body" idx="9"/>
          </p:nvPr>
        </p:nvSpPr>
        <p:spPr>
          <a:xfrm>
            <a:off x="9660801" y="2175803"/>
            <a:ext cx="1980034" cy="332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33" name="Google Shape;233;p92"/>
          <p:cNvSpPr txBox="1">
            <a:spLocks noGrp="1"/>
          </p:cNvSpPr>
          <p:nvPr>
            <p:ph type="body" idx="13"/>
          </p:nvPr>
        </p:nvSpPr>
        <p:spPr>
          <a:xfrm>
            <a:off x="9660801" y="1857375"/>
            <a:ext cx="1980034" cy="3913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ustom Layout">
  <p:cSld name="9_Custom Layout"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4ECC4FD-5D65-1B05-934F-5474D509DB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13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" name="Google Shape;235;p93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80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6" name="Google Shape;236;p93"/>
          <p:cNvSpPr txBox="1">
            <a:spLocks noGrp="1"/>
          </p:cNvSpPr>
          <p:nvPr>
            <p:ph type="title"/>
          </p:nvPr>
        </p:nvSpPr>
        <p:spPr>
          <a:xfrm>
            <a:off x="549232" y="562841"/>
            <a:ext cx="3077171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237" name="Google Shape;237;p9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238" name="Google Shape;238;p93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9" name="Google Shape;239;p93"/>
          <p:cNvSpPr txBox="1">
            <a:spLocks noGrp="1"/>
          </p:cNvSpPr>
          <p:nvPr>
            <p:ph type="ftr" idx="11"/>
          </p:nvPr>
        </p:nvSpPr>
        <p:spPr>
          <a:xfrm>
            <a:off x="4349577" y="6429905"/>
            <a:ext cx="95539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ustom Layout">
  <p:cSld name="4_Custom Layout"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79A77B-84D6-E61B-D8B8-40F9F6AB12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8096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1" name="Google Shape;241;p94"/>
          <p:cNvSpPr/>
          <p:nvPr/>
        </p:nvSpPr>
        <p:spPr>
          <a:xfrm>
            <a:off x="0" y="-1"/>
            <a:ext cx="6098537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80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242;p94"/>
          <p:cNvSpPr txBox="1">
            <a:spLocks noGrp="1"/>
          </p:cNvSpPr>
          <p:nvPr>
            <p:ph type="title"/>
          </p:nvPr>
        </p:nvSpPr>
        <p:spPr>
          <a:xfrm>
            <a:off x="549232" y="562841"/>
            <a:ext cx="5385396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243" name="Google Shape;243;p9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244" name="Google Shape;244;p94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5" name="Google Shape;245;p94"/>
          <p:cNvSpPr txBox="1">
            <a:spLocks noGrp="1"/>
          </p:cNvSpPr>
          <p:nvPr>
            <p:ph type="ftr" idx="11"/>
          </p:nvPr>
        </p:nvSpPr>
        <p:spPr>
          <a:xfrm>
            <a:off x="566142" y="6429905"/>
            <a:ext cx="95539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8_Custom Layout">
  <p:cSld name="8_Custom Layout"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9CCC80-D9F3-9A8B-2ED1-DF5875C66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1180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7" name="Google Shape;247;p9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fr-FR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8" name="Google Shape;248;p95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cxnSp>
        <p:nvCxnSpPr>
          <p:cNvPr id="249" name="Google Shape;249;p9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0" name="Google Shape;250;p9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51" name="Google Shape;251;p9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Google Shape;252;p9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3" name="Google Shape;253;p9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9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9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9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9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9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9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9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9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9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9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4" name="Google Shape;264;p9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</a:t>
            </a:r>
            <a:r>
              <a:rPr lang="fr-FR" sz="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r>
              <a:rPr lang="fr-FR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. All </a:t>
            </a:r>
            <a:r>
              <a:rPr lang="fr-FR" sz="800" b="0" i="0" u="none" strike="noStrike" cap="none" dirty="0" err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ights</a:t>
            </a:r>
            <a:r>
              <a:rPr lang="fr-FR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sz="800" b="0" i="0" u="none" strike="noStrike" cap="none" dirty="0" err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served</a:t>
            </a:r>
            <a:r>
              <a:rPr lang="fr-FR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endParaRPr lang="fr-FR" dirty="0"/>
          </a:p>
        </p:txBody>
      </p:sp>
      <p:sp>
        <p:nvSpPr>
          <p:cNvPr id="265" name="Google Shape;265;p95"/>
          <p:cNvSpPr txBox="1">
            <a:spLocks noGrp="1"/>
          </p:cNvSpPr>
          <p:nvPr>
            <p:ph type="ftr" idx="11"/>
          </p:nvPr>
        </p:nvSpPr>
        <p:spPr>
          <a:xfrm>
            <a:off x="550863" y="6429905"/>
            <a:ext cx="95539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266" name="Google Shape;266;p9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ustom Layout">
  <p:cSld name="6_Custom Layout"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4A7D722-5D4A-8BA6-D721-9CE67C0B39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3236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" name="Google Shape;268;p96"/>
          <p:cNvSpPr/>
          <p:nvPr/>
        </p:nvSpPr>
        <p:spPr>
          <a:xfrm>
            <a:off x="8134763" y="-1"/>
            <a:ext cx="4059776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fr-FR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269;p96"/>
          <p:cNvSpPr txBox="1">
            <a:spLocks noGrp="1"/>
          </p:cNvSpPr>
          <p:nvPr>
            <p:ph type="title"/>
          </p:nvPr>
        </p:nvSpPr>
        <p:spPr>
          <a:xfrm>
            <a:off x="566142" y="562841"/>
            <a:ext cx="726112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270" name="Google Shape;270;p96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271" name="Google Shape;271;p96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72" name="Google Shape;272;p96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73" name="Google Shape;273;p96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96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96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96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96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96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96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96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96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96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96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96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96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6" name="Google Shape;286;p96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</a:t>
            </a:r>
            <a:r>
              <a:rPr lang="fr-FR" sz="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r>
              <a:rPr lang="fr-FR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. All </a:t>
            </a:r>
            <a:r>
              <a:rPr lang="fr-FR" sz="800" b="0" i="0" u="none" strike="noStrike" cap="none" dirty="0" err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ights</a:t>
            </a:r>
            <a:r>
              <a:rPr lang="fr-FR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sz="800" b="0" i="0" u="none" strike="noStrike" cap="none" dirty="0" err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served</a:t>
            </a:r>
            <a:r>
              <a:rPr lang="fr-FR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endParaRPr lang="fr-FR" dirty="0"/>
          </a:p>
        </p:txBody>
      </p:sp>
      <p:sp>
        <p:nvSpPr>
          <p:cNvPr id="287" name="Google Shape;287;p96"/>
          <p:cNvSpPr txBox="1">
            <a:spLocks noGrp="1"/>
          </p:cNvSpPr>
          <p:nvPr>
            <p:ph type="ftr" idx="11"/>
          </p:nvPr>
        </p:nvSpPr>
        <p:spPr>
          <a:xfrm>
            <a:off x="550862" y="6450225"/>
            <a:ext cx="95539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F72BF86-7F5C-2B15-E7C3-6C6FACDD8E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5513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9" name="Google Shape;289;p97"/>
          <p:cNvSpPr/>
          <p:nvPr/>
        </p:nvSpPr>
        <p:spPr>
          <a:xfrm>
            <a:off x="0" y="0"/>
            <a:ext cx="12193200" cy="6858000"/>
          </a:xfrm>
          <a:custGeom>
            <a:avLst/>
            <a:gdLst/>
            <a:ahLst/>
            <a:cxnLst/>
            <a:rect l="l" t="t" r="r" b="b"/>
            <a:pathLst>
              <a:path w="12193200" h="6858000" extrusionOk="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4705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8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90" name="Google Shape;290;p97"/>
          <p:cNvGrpSpPr/>
          <p:nvPr/>
        </p:nvGrpSpPr>
        <p:grpSpPr>
          <a:xfrm>
            <a:off x="-600" y="549275"/>
            <a:ext cx="12193200" cy="5759450"/>
            <a:chOff x="-600" y="549275"/>
            <a:chExt cx="12193200" cy="5759450"/>
          </a:xfrm>
        </p:grpSpPr>
        <p:cxnSp>
          <p:nvCxnSpPr>
            <p:cNvPr id="291" name="Google Shape;291;p97"/>
            <p:cNvCxnSpPr/>
            <p:nvPr/>
          </p:nvCxnSpPr>
          <p:spPr>
            <a:xfrm>
              <a:off x="-600" y="549275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2" name="Google Shape;292;p97"/>
            <p:cNvCxnSpPr/>
            <p:nvPr/>
          </p:nvCxnSpPr>
          <p:spPr>
            <a:xfrm>
              <a:off x="-600" y="1072861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3" name="Google Shape;293;p97"/>
            <p:cNvCxnSpPr/>
            <p:nvPr/>
          </p:nvCxnSpPr>
          <p:spPr>
            <a:xfrm>
              <a:off x="-600" y="1334654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4" name="Google Shape;294;p97"/>
            <p:cNvCxnSpPr/>
            <p:nvPr/>
          </p:nvCxnSpPr>
          <p:spPr>
            <a:xfrm>
              <a:off x="-600" y="1596447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5" name="Google Shape;295;p97"/>
            <p:cNvCxnSpPr/>
            <p:nvPr/>
          </p:nvCxnSpPr>
          <p:spPr>
            <a:xfrm>
              <a:off x="-600" y="1858240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6" name="Google Shape;296;p97"/>
            <p:cNvCxnSpPr/>
            <p:nvPr/>
          </p:nvCxnSpPr>
          <p:spPr>
            <a:xfrm>
              <a:off x="-600" y="2120033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7" name="Google Shape;297;p97"/>
            <p:cNvCxnSpPr/>
            <p:nvPr/>
          </p:nvCxnSpPr>
          <p:spPr>
            <a:xfrm>
              <a:off x="-600" y="2381826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8" name="Google Shape;298;p97"/>
            <p:cNvCxnSpPr/>
            <p:nvPr/>
          </p:nvCxnSpPr>
          <p:spPr>
            <a:xfrm>
              <a:off x="-600" y="2643619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9" name="Google Shape;299;p97"/>
            <p:cNvCxnSpPr/>
            <p:nvPr/>
          </p:nvCxnSpPr>
          <p:spPr>
            <a:xfrm>
              <a:off x="-600" y="2905412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0" name="Google Shape;300;p97"/>
            <p:cNvCxnSpPr/>
            <p:nvPr/>
          </p:nvCxnSpPr>
          <p:spPr>
            <a:xfrm>
              <a:off x="-600" y="3167205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1" name="Google Shape;301;p97"/>
            <p:cNvCxnSpPr/>
            <p:nvPr/>
          </p:nvCxnSpPr>
          <p:spPr>
            <a:xfrm>
              <a:off x="-600" y="3428998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2" name="Google Shape;302;p97"/>
            <p:cNvCxnSpPr/>
            <p:nvPr/>
          </p:nvCxnSpPr>
          <p:spPr>
            <a:xfrm>
              <a:off x="-600" y="3690791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3" name="Google Shape;303;p97"/>
            <p:cNvCxnSpPr/>
            <p:nvPr/>
          </p:nvCxnSpPr>
          <p:spPr>
            <a:xfrm>
              <a:off x="-600" y="3952584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4" name="Google Shape;304;p97"/>
            <p:cNvCxnSpPr/>
            <p:nvPr/>
          </p:nvCxnSpPr>
          <p:spPr>
            <a:xfrm>
              <a:off x="-600" y="4214377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5" name="Google Shape;305;p97"/>
            <p:cNvCxnSpPr/>
            <p:nvPr/>
          </p:nvCxnSpPr>
          <p:spPr>
            <a:xfrm>
              <a:off x="-600" y="4476170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6" name="Google Shape;306;p97"/>
            <p:cNvCxnSpPr/>
            <p:nvPr/>
          </p:nvCxnSpPr>
          <p:spPr>
            <a:xfrm>
              <a:off x="-600" y="4737963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7" name="Google Shape;307;p97"/>
            <p:cNvCxnSpPr/>
            <p:nvPr/>
          </p:nvCxnSpPr>
          <p:spPr>
            <a:xfrm>
              <a:off x="-600" y="4999756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8" name="Google Shape;308;p97"/>
            <p:cNvCxnSpPr/>
            <p:nvPr/>
          </p:nvCxnSpPr>
          <p:spPr>
            <a:xfrm>
              <a:off x="-600" y="5261549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9" name="Google Shape;309;p97"/>
            <p:cNvCxnSpPr/>
            <p:nvPr/>
          </p:nvCxnSpPr>
          <p:spPr>
            <a:xfrm>
              <a:off x="-600" y="5523342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0" name="Google Shape;310;p97"/>
            <p:cNvCxnSpPr/>
            <p:nvPr/>
          </p:nvCxnSpPr>
          <p:spPr>
            <a:xfrm>
              <a:off x="-600" y="5785135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1" name="Google Shape;311;p97"/>
            <p:cNvCxnSpPr/>
            <p:nvPr/>
          </p:nvCxnSpPr>
          <p:spPr>
            <a:xfrm>
              <a:off x="-600" y="811068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2" name="Google Shape;312;p97"/>
            <p:cNvCxnSpPr/>
            <p:nvPr/>
          </p:nvCxnSpPr>
          <p:spPr>
            <a:xfrm>
              <a:off x="-600" y="6308725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3" name="Google Shape;313;p97"/>
            <p:cNvCxnSpPr/>
            <p:nvPr/>
          </p:nvCxnSpPr>
          <p:spPr>
            <a:xfrm>
              <a:off x="-600" y="6046928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314" name="Google Shape;314;p97"/>
          <p:cNvSpPr/>
          <p:nvPr/>
        </p:nvSpPr>
        <p:spPr>
          <a:xfrm>
            <a:off x="550263" y="6308721"/>
            <a:ext cx="11090873" cy="261799"/>
          </a:xfrm>
          <a:prstGeom prst="rect">
            <a:avLst/>
          </a:prstGeom>
          <a:solidFill>
            <a:srgbClr val="FF0000">
              <a:alpha val="9803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8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5" name="Google Shape;315;p97"/>
          <p:cNvSpPr/>
          <p:nvPr/>
        </p:nvSpPr>
        <p:spPr>
          <a:xfrm>
            <a:off x="550864" y="1348221"/>
            <a:ext cx="11105556" cy="509202"/>
          </a:xfrm>
          <a:prstGeom prst="rect">
            <a:avLst/>
          </a:prstGeom>
          <a:solidFill>
            <a:srgbClr val="FF0000">
              <a:alpha val="4705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8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6" name="Google Shape;316;p97"/>
          <p:cNvSpPr/>
          <p:nvPr/>
        </p:nvSpPr>
        <p:spPr>
          <a:xfrm>
            <a:off x="550863" y="2120033"/>
            <a:ext cx="11090275" cy="4188692"/>
          </a:xfrm>
          <a:custGeom>
            <a:avLst/>
            <a:gdLst/>
            <a:ahLst/>
            <a:cxnLst/>
            <a:rect l="l" t="t" r="r" b="b"/>
            <a:pathLst>
              <a:path w="10931999" h="5537797" extrusionOk="0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 cap="flat" cmpd="sng">
            <a:solidFill>
              <a:schemeClr val="dk2">
                <a:alpha val="34901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sz="12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17" name="Google Shape;317;p97"/>
          <p:cNvGrpSpPr/>
          <p:nvPr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</p:grpSpPr>
        <p:sp>
          <p:nvSpPr>
            <p:cNvPr id="318" name="Google Shape;318;p97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9" name="Google Shape;319;p97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Google Shape;320;p97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321;p97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Google Shape;322;p97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323;p97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324;p97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325;p97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326;p97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327;p97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328;p97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9" name="Google Shape;329;p97"/>
          <p:cNvSpPr txBox="1"/>
          <p:nvPr/>
        </p:nvSpPr>
        <p:spPr>
          <a:xfrm>
            <a:off x="550862" y="6309543"/>
            <a:ext cx="9030915" cy="277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fr-FR" sz="1000" b="0" i="0" u="none" strike="noStrike" cap="none" dirty="0" err="1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</a:t>
            </a:r>
            <a:r>
              <a:rPr lang="fr-FR" sz="1000" b="0" i="0" u="none" strike="noStrike" cap="none" dirty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/Notes</a:t>
            </a:r>
            <a:endParaRPr lang="fr-FR" dirty="0"/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fr-FR" sz="1000" b="0" i="0" u="none" strike="noStrike" cap="none" dirty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</a:t>
            </a:r>
            <a:r>
              <a:rPr lang="fr-FR" sz="1000" b="0" i="0" u="none" strike="noStrike" cap="none" dirty="0" err="1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Include</a:t>
            </a:r>
            <a:r>
              <a:rPr lang="fr-FR" sz="1000" b="0" i="0" u="none" strike="noStrike" cap="none" dirty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 a source </a:t>
            </a:r>
            <a:r>
              <a:rPr lang="fr-FR" sz="1000" b="0" i="0" u="none" strike="noStrike" cap="none" dirty="0" err="1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here</a:t>
            </a:r>
            <a:endParaRPr lang="fr-FR" dirty="0"/>
          </a:p>
        </p:txBody>
      </p:sp>
      <p:sp>
        <p:nvSpPr>
          <p:cNvPr id="330" name="Google Shape;330;p9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31" name="Google Shape;331;p97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grpSp>
        <p:nvGrpSpPr>
          <p:cNvPr id="332" name="Google Shape;332;p97"/>
          <p:cNvGrpSpPr/>
          <p:nvPr/>
        </p:nvGrpSpPr>
        <p:grpSpPr>
          <a:xfrm>
            <a:off x="550864" y="6156603"/>
            <a:ext cx="11089971" cy="55199"/>
            <a:chOff x="550864" y="6156603"/>
            <a:chExt cx="11089971" cy="55199"/>
          </a:xfrm>
        </p:grpSpPr>
        <p:sp>
          <p:nvSpPr>
            <p:cNvPr id="333" name="Google Shape;333;p97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4" name="Google Shape;334;p97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5" name="Google Shape;335;p97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6" name="Google Shape;336;p97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" name="Google Shape;337;p97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B217642-9304-50AE-C425-83FFAA3394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3899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9" name="Google Shape;339;p98"/>
          <p:cNvSpPr txBox="1">
            <a:spLocks noGrp="1"/>
          </p:cNvSpPr>
          <p:nvPr>
            <p:ph type="ftr" idx="11"/>
          </p:nvPr>
        </p:nvSpPr>
        <p:spPr>
          <a:xfrm>
            <a:off x="550862" y="6450225"/>
            <a:ext cx="691673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340" name="Google Shape;340;p9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41" name="Google Shape;341;p98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342" name="Google Shape;342;p98"/>
          <p:cNvSpPr txBox="1">
            <a:spLocks noGrp="1"/>
          </p:cNvSpPr>
          <p:nvPr>
            <p:ph type="body" idx="1"/>
          </p:nvPr>
        </p:nvSpPr>
        <p:spPr>
          <a:xfrm>
            <a:off x="550862" y="998828"/>
            <a:ext cx="11089972" cy="420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2000"/>
              <a:buNone/>
              <a:defRPr sz="20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61D761-6512-012F-CFEE-D4C1295242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8009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4" name="Google Shape;344;p9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345" name="Google Shape;345;p99"/>
          <p:cNvSpPr txBox="1">
            <a:spLocks noGrp="1"/>
          </p:cNvSpPr>
          <p:nvPr>
            <p:ph type="ftr" idx="11"/>
          </p:nvPr>
        </p:nvSpPr>
        <p:spPr>
          <a:xfrm>
            <a:off x="550862" y="6450225"/>
            <a:ext cx="95539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346" name="Google Shape;346;p9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 rtl="0">
              <a:lnSpc>
                <a:spcPct val="90000"/>
              </a:lnSpc>
              <a:spcBef>
                <a:spcPts val="0"/>
              </a:spcBef>
              <a:buNone/>
              <a:defRPr/>
            </a:lvl1pPr>
            <a:lvl2pPr marL="0" lvl="1" indent="0" algn="r">
              <a:lnSpc>
                <a:spcPct val="90000"/>
              </a:lnSpc>
              <a:spcBef>
                <a:spcPts val="0"/>
              </a:spcBef>
              <a:buNone/>
              <a:defRPr/>
            </a:lvl2pPr>
            <a:lvl3pPr marL="0" lvl="2" indent="0" algn="r">
              <a:lnSpc>
                <a:spcPct val="90000"/>
              </a:lnSpc>
              <a:spcBef>
                <a:spcPts val="0"/>
              </a:spcBef>
              <a:buNone/>
              <a:defRPr/>
            </a:lvl3pPr>
            <a:lvl4pPr marL="0" lvl="3" indent="0" algn="r">
              <a:lnSpc>
                <a:spcPct val="90000"/>
              </a:lnSpc>
              <a:spcBef>
                <a:spcPts val="0"/>
              </a:spcBef>
              <a:buNone/>
              <a:defRPr/>
            </a:lvl4pPr>
            <a:lvl5pPr marL="0" lvl="4" indent="0" algn="r">
              <a:lnSpc>
                <a:spcPct val="90000"/>
              </a:lnSpc>
              <a:spcBef>
                <a:spcPts val="0"/>
              </a:spcBef>
              <a:buNone/>
              <a:defRPr/>
            </a:lvl5pPr>
            <a:lvl6pPr marL="0" lvl="5" indent="0" algn="r">
              <a:lnSpc>
                <a:spcPct val="90000"/>
              </a:lnSpc>
              <a:spcBef>
                <a:spcPts val="0"/>
              </a:spcBef>
              <a:buNone/>
              <a:defRPr/>
            </a:lvl6pPr>
            <a:lvl7pPr marL="0" lvl="6" indent="0" algn="r">
              <a:lnSpc>
                <a:spcPct val="90000"/>
              </a:lnSpc>
              <a:spcBef>
                <a:spcPts val="0"/>
              </a:spcBef>
              <a:buNone/>
              <a:defRPr/>
            </a:lvl7pPr>
            <a:lvl8pPr marL="0" lvl="7" indent="0" algn="r">
              <a:lnSpc>
                <a:spcPct val="90000"/>
              </a:lnSpc>
              <a:spcBef>
                <a:spcPts val="0"/>
              </a:spcBef>
              <a:buNone/>
              <a:defRPr/>
            </a:lvl8pPr>
            <a:lvl9pPr marL="0" lvl="8" indent="0" algn="r">
              <a:lnSpc>
                <a:spcPct val="90000"/>
              </a:lnSpc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 BG (with Title)">
  <p:cSld name="Gradient BG (with Title)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6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058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" name="Google Shape;31;p6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2" name="Google Shape;32;p6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3" name="Google Shape;33;p6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34" name="Google Shape;34;p6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35;p6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36;p6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37;p6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8;p6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9;p6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40;p6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41;p6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42;p6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43;p6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44;p6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45;p6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46;p6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" name="Google Shape;47;p6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" name="Google Shape;48;p6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9" name="Google Shape;49;p65"/>
          <p:cNvSpPr txBox="1">
            <a:spLocks noGrp="1"/>
          </p:cNvSpPr>
          <p:nvPr>
            <p:ph type="ftr" idx="11"/>
          </p:nvPr>
        </p:nvSpPr>
        <p:spPr>
          <a:xfrm>
            <a:off x="550863" y="6450225"/>
            <a:ext cx="554513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64204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Plain White">
  <p:cSld name="1_Plain White">
    <p:bg>
      <p:bgPr>
        <a:solidFill>
          <a:schemeClr val="lt2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221EED2-1568-0083-952C-7B95A4D9C8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295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Google Shape;41;p7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Google Shape;42;p73"/>
          <p:cNvSpPr/>
          <p:nvPr/>
        </p:nvSpPr>
        <p:spPr>
          <a:xfrm>
            <a:off x="0" y="0"/>
            <a:ext cx="2682587" cy="6858000"/>
          </a:xfrm>
          <a:prstGeom prst="rect">
            <a:avLst/>
          </a:prstGeom>
          <a:solidFill>
            <a:schemeClr val="lt2">
              <a:alpha val="6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" name="Google Shape;43;p73"/>
          <p:cNvSpPr/>
          <p:nvPr/>
        </p:nvSpPr>
        <p:spPr>
          <a:xfrm>
            <a:off x="-1" y="3700463"/>
            <a:ext cx="8474529" cy="2414587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803"/>
                </a:srgbClr>
              </a:gs>
              <a:gs pos="100000">
                <a:srgbClr val="43E1D3">
                  <a:alpha val="89803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Google Shape;44;p73"/>
          <p:cNvSpPr txBox="1">
            <a:spLocks noGrp="1"/>
          </p:cNvSpPr>
          <p:nvPr>
            <p:ph type="sldNum" idx="12"/>
          </p:nvPr>
        </p:nvSpPr>
        <p:spPr>
          <a:xfrm>
            <a:off x="11501674" y="6445294"/>
            <a:ext cx="13946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 rtl="0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45" name="Google Shape;45;p73"/>
          <p:cNvSpPr txBox="1"/>
          <p:nvPr/>
        </p:nvSpPr>
        <p:spPr>
          <a:xfrm rot="-5400000">
            <a:off x="11165863" y="5680204"/>
            <a:ext cx="1776000" cy="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700" b="0" i="0" dirty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Infomineo Copyright © 202</a:t>
            </a:r>
            <a:r>
              <a:rPr lang="fr-FR" sz="700" dirty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r>
              <a:rPr lang="fr-FR" sz="700" b="0" i="0" dirty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. All </a:t>
            </a:r>
            <a:r>
              <a:rPr lang="fr-FR" sz="700" b="0" i="0" dirty="0" err="1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rights</a:t>
            </a:r>
            <a:r>
              <a:rPr lang="fr-FR" sz="700" b="0" i="0" dirty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sz="700" b="0" i="0" dirty="0" err="1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reserved</a:t>
            </a:r>
            <a:r>
              <a:rPr lang="fr-FR" sz="700" b="0" i="0" dirty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endParaRPr lang="fr-FR" dirty="0"/>
          </a:p>
        </p:txBody>
      </p:sp>
      <p:sp>
        <p:nvSpPr>
          <p:cNvPr id="46" name="Google Shape;46;p73"/>
          <p:cNvSpPr txBox="1"/>
          <p:nvPr/>
        </p:nvSpPr>
        <p:spPr>
          <a:xfrm>
            <a:off x="11501674" y="6445294"/>
            <a:ext cx="13946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 sz="900" b="0" i="0" u="none" strike="noStrike" cap="none" smtClean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fr-FR" sz="900" b="0" i="0" u="none" strike="noStrike" cap="none" dirty="0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47;p73"/>
          <p:cNvSpPr txBox="1">
            <a:spLocks noGrp="1"/>
          </p:cNvSpPr>
          <p:nvPr>
            <p:ph type="title"/>
          </p:nvPr>
        </p:nvSpPr>
        <p:spPr>
          <a:xfrm>
            <a:off x="737591" y="4547017"/>
            <a:ext cx="5642889" cy="692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>
  <p:cSld name="Breaker Slide_1">
    <p:bg>
      <p:bgPr>
        <a:solidFill>
          <a:schemeClr val="lt2"/>
        </a:solidFill>
        <a:effectLst/>
      </p:bgPr>
    </p:bg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40" descr="A picture containing graphical user interface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13834"/>
          <a:stretch/>
        </p:blipFill>
        <p:spPr>
          <a:xfrm>
            <a:off x="1" y="-6562"/>
            <a:ext cx="12192000" cy="6864562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40"/>
          <p:cNvSpPr/>
          <p:nvPr/>
        </p:nvSpPr>
        <p:spPr>
          <a:xfrm>
            <a:off x="0" y="3853543"/>
            <a:ext cx="6240463" cy="2261507"/>
          </a:xfrm>
          <a:prstGeom prst="rect">
            <a:avLst/>
          </a:prstGeom>
          <a:gradFill>
            <a:gsLst>
              <a:gs pos="0">
                <a:srgbClr val="062379">
                  <a:alpha val="80000"/>
                </a:srgbClr>
              </a:gs>
              <a:gs pos="55000">
                <a:srgbClr val="385ED2">
                  <a:alpha val="80000"/>
                </a:srgbClr>
              </a:gs>
              <a:gs pos="76000">
                <a:srgbClr val="4873F5">
                  <a:alpha val="80000"/>
                </a:srgbClr>
              </a:gs>
              <a:gs pos="100000">
                <a:srgbClr val="43E1D3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72733" tIns="36355" rIns="72733" bIns="3635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432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40"/>
          <p:cNvSpPr txBox="1">
            <a:spLocks noGrp="1"/>
          </p:cNvSpPr>
          <p:nvPr>
            <p:ph type="title"/>
          </p:nvPr>
        </p:nvSpPr>
        <p:spPr>
          <a:xfrm>
            <a:off x="589046" y="4653724"/>
            <a:ext cx="5400674" cy="661144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6274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4774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" name="Google Shape;36;p40"/>
          <p:cNvGrpSpPr/>
          <p:nvPr/>
        </p:nvGrpSpPr>
        <p:grpSpPr>
          <a:xfrm>
            <a:off x="11998460" y="6162189"/>
            <a:ext cx="68500" cy="441924"/>
            <a:chOff x="11998459" y="6162188"/>
            <a:chExt cx="68500" cy="441925"/>
          </a:xfrm>
        </p:grpSpPr>
        <p:sp>
          <p:nvSpPr>
            <p:cNvPr id="37" name="Google Shape;37;p40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43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8;p40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43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9;p40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43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40;p40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43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41;p40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43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42;p40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43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43;p40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43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44;p40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43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45;p40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43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46;p40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43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40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43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48;p40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43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49;p40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43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" name="Google Shape;50;p40"/>
          <p:cNvSpPr txBox="1"/>
          <p:nvPr/>
        </p:nvSpPr>
        <p:spPr>
          <a:xfrm rot="-5400000">
            <a:off x="11250971" y="5301919"/>
            <a:ext cx="1567737" cy="882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IN" sz="63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114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51;p40"/>
          <p:cNvSpPr txBox="1">
            <a:spLocks noGrp="1"/>
          </p:cNvSpPr>
          <p:nvPr>
            <p:ph type="sldNum" idx="12"/>
          </p:nvPr>
        </p:nvSpPr>
        <p:spPr>
          <a:xfrm>
            <a:off x="11490153" y="6493891"/>
            <a:ext cx="150682" cy="110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08827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2)" type="title">
  <p:cSld name="Title Slide (Option 2)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oogle Shape;19;p46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69998" y="270000"/>
            <a:ext cx="11652001" cy="631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46"/>
          <p:cNvSpPr/>
          <p:nvPr/>
        </p:nvSpPr>
        <p:spPr>
          <a:xfrm>
            <a:off x="536448" y="540000"/>
            <a:ext cx="6363891" cy="6318000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7058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7058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21;p46"/>
          <p:cNvSpPr txBox="1">
            <a:spLocks noGrp="1"/>
          </p:cNvSpPr>
          <p:nvPr>
            <p:ph type="ctrTitle"/>
          </p:nvPr>
        </p:nvSpPr>
        <p:spPr>
          <a:xfrm>
            <a:off x="902896" y="3549895"/>
            <a:ext cx="5337943" cy="747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400" b="1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46"/>
          <p:cNvSpPr txBox="1">
            <a:spLocks noGrp="1"/>
          </p:cNvSpPr>
          <p:nvPr>
            <p:ph type="subTitle" idx="1"/>
          </p:nvPr>
        </p:nvSpPr>
        <p:spPr>
          <a:xfrm>
            <a:off x="902896" y="4348579"/>
            <a:ext cx="5337943" cy="420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" name="Google Shape;23;p46"/>
          <p:cNvSpPr txBox="1">
            <a:spLocks noGrp="1"/>
          </p:cNvSpPr>
          <p:nvPr>
            <p:ph type="dt" idx="10"/>
          </p:nvPr>
        </p:nvSpPr>
        <p:spPr>
          <a:xfrm>
            <a:off x="902896" y="5923689"/>
            <a:ext cx="1599925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24" name="Google Shape;24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03782" y="919750"/>
            <a:ext cx="2698687" cy="6118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77085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7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4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8" name="Google Shape;28;p47"/>
          <p:cNvSpPr txBox="1">
            <a:spLocks noGrp="1"/>
          </p:cNvSpPr>
          <p:nvPr>
            <p:ph type="ftr" idx="11"/>
          </p:nvPr>
        </p:nvSpPr>
        <p:spPr>
          <a:xfrm>
            <a:off x="550863" y="6450225"/>
            <a:ext cx="554513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550695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 BG (with Title)">
  <p:cSld name="Gradient BG (with Title)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6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058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" name="Google Shape;31;p6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2" name="Google Shape;32;p6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3" name="Google Shape;33;p6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34" name="Google Shape;34;p6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35;p6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36;p6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37;p6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8;p6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9;p6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40;p6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41;p6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42;p6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43;p6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44;p6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45;p6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46;p6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" name="Google Shape;47;p6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" name="Google Shape;48;p6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9" name="Google Shape;49;p65"/>
          <p:cNvSpPr txBox="1">
            <a:spLocks noGrp="1"/>
          </p:cNvSpPr>
          <p:nvPr>
            <p:ph type="ftr" idx="11"/>
          </p:nvPr>
        </p:nvSpPr>
        <p:spPr>
          <a:xfrm>
            <a:off x="550863" y="6450225"/>
            <a:ext cx="554513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989071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56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56"/>
          <p:cNvSpPr txBox="1">
            <a:spLocks noGrp="1"/>
          </p:cNvSpPr>
          <p:nvPr>
            <p:ph type="ftr" idx="11"/>
          </p:nvPr>
        </p:nvSpPr>
        <p:spPr>
          <a:xfrm>
            <a:off x="550863" y="6450225"/>
            <a:ext cx="48891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017929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Breaker Slide_2">
    <p:bg>
      <p:bgPr>
        <a:solidFill>
          <a:schemeClr val="lt2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Google Shape;54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12192000" cy="682752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7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7058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" name="Google Shape;56;p71"/>
          <p:cNvSpPr txBox="1">
            <a:spLocks noGrp="1"/>
          </p:cNvSpPr>
          <p:nvPr>
            <p:ph type="title"/>
          </p:nvPr>
        </p:nvSpPr>
        <p:spPr>
          <a:xfrm>
            <a:off x="992390" y="4396228"/>
            <a:ext cx="6785798" cy="830997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058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 b="1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7" name="Google Shape;57;p71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58" name="Google Shape;58;p71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71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71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71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62;p71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63;p71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64;p71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65;p71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66;p71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67;p71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68;p71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69;p71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70;p71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" name="Google Shape;71;p71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" name="Google Shape;72;p7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" name="Google Shape;73;p71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639036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Right">
  <p:cSld name="1/2 Blue on Righ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48"/>
          <p:cNvSpPr/>
          <p:nvPr/>
        </p:nvSpPr>
        <p:spPr>
          <a:xfrm>
            <a:off x="6096000" y="-1"/>
            <a:ext cx="6098539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058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" name="Google Shape;76;p48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5205071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48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48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9" name="Google Shape;79;p4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80" name="Google Shape;80;p4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81;p4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82;p4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83;p4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84;p4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85;p4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86;p4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87;p4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88;p4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89;p4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90;p4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92;p4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" name="Google Shape;93;p4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2023. All rights reserved.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" name="Google Shape;94;p48"/>
          <p:cNvSpPr txBox="1">
            <a:spLocks noGrp="1"/>
          </p:cNvSpPr>
          <p:nvPr>
            <p:ph type="ftr" idx="11"/>
          </p:nvPr>
        </p:nvSpPr>
        <p:spPr>
          <a:xfrm>
            <a:off x="550863" y="6450225"/>
            <a:ext cx="522035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864833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only (with background)">
  <p:cSld name="1_Title only (with background)">
    <p:bg>
      <p:bgPr>
        <a:solidFill>
          <a:schemeClr val="lt2"/>
        </a:solidFill>
        <a:effectLst/>
      </p:bgPr>
    </p:bg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157"/>
          <p:cNvSpPr txBox="1">
            <a:spLocks noGrp="1"/>
          </p:cNvSpPr>
          <p:nvPr>
            <p:ph type="ftr" idx="11"/>
          </p:nvPr>
        </p:nvSpPr>
        <p:spPr>
          <a:xfrm>
            <a:off x="550863" y="6450225"/>
            <a:ext cx="48891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15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98" name="Google Shape;98;p157"/>
          <p:cNvGrpSpPr/>
          <p:nvPr/>
        </p:nvGrpSpPr>
        <p:grpSpPr>
          <a:xfrm>
            <a:off x="11979441" y="4535495"/>
            <a:ext cx="110800" cy="2041948"/>
            <a:chOff x="11979441" y="4535495"/>
            <a:chExt cx="110800" cy="2041948"/>
          </a:xfrm>
        </p:grpSpPr>
        <p:grpSp>
          <p:nvGrpSpPr>
            <p:cNvPr id="99" name="Google Shape;99;p157"/>
            <p:cNvGrpSpPr/>
            <p:nvPr/>
          </p:nvGrpSpPr>
          <p:grpSpPr>
            <a:xfrm>
              <a:off x="11998460" y="6135518"/>
              <a:ext cx="68500" cy="441925"/>
              <a:chOff x="11998459" y="6162188"/>
              <a:chExt cx="68500" cy="441925"/>
            </a:xfrm>
          </p:grpSpPr>
          <p:sp>
            <p:nvSpPr>
              <p:cNvPr id="100" name="Google Shape;100;p157"/>
              <p:cNvSpPr/>
              <p:nvPr/>
            </p:nvSpPr>
            <p:spPr>
              <a:xfrm rot="-5400000">
                <a:off x="12063068" y="6476346"/>
                <a:ext cx="17" cy="1717"/>
              </a:xfrm>
              <a:custGeom>
                <a:avLst/>
                <a:gdLst/>
                <a:ahLst/>
                <a:cxnLst/>
                <a:rect l="l" t="t" r="r" b="b"/>
                <a:pathLst>
                  <a:path w="17" h="1717" extrusionOk="0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57"/>
              <p:cNvSpPr/>
              <p:nvPr/>
            </p:nvSpPr>
            <p:spPr>
              <a:xfrm rot="-5400000">
                <a:off x="12023737" y="6455896"/>
                <a:ext cx="453" cy="271"/>
              </a:xfrm>
              <a:custGeom>
                <a:avLst/>
                <a:gdLst/>
                <a:ahLst/>
                <a:cxnLst/>
                <a:rect l="l" t="t" r="r" b="b"/>
                <a:pathLst>
                  <a:path w="453" h="271" extrusionOk="0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57"/>
              <p:cNvSpPr/>
              <p:nvPr/>
            </p:nvSpPr>
            <p:spPr>
              <a:xfrm rot="-5400000">
                <a:off x="12023907" y="6477766"/>
                <a:ext cx="15" cy="76"/>
              </a:xfrm>
              <a:custGeom>
                <a:avLst/>
                <a:gdLst/>
                <a:ahLst/>
                <a:cxnLst/>
                <a:rect l="l" t="t" r="r" b="b"/>
                <a:pathLst>
                  <a:path w="15" h="76" extrusionOk="0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57"/>
              <p:cNvSpPr/>
              <p:nvPr/>
            </p:nvSpPr>
            <p:spPr>
              <a:xfrm rot="-5400000">
                <a:off x="12021636" y="6473651"/>
                <a:ext cx="261" cy="103"/>
              </a:xfrm>
              <a:custGeom>
                <a:avLst/>
                <a:gdLst/>
                <a:ahLst/>
                <a:cxnLst/>
                <a:rect l="l" t="t" r="r" b="b"/>
                <a:pathLst>
                  <a:path w="261" h="103" extrusionOk="0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57"/>
              <p:cNvSpPr/>
              <p:nvPr/>
            </p:nvSpPr>
            <p:spPr>
              <a:xfrm rot="-5400000">
                <a:off x="12015635" y="6442208"/>
                <a:ext cx="51323" cy="51323"/>
              </a:xfrm>
              <a:custGeom>
                <a:avLst/>
                <a:gdLst/>
                <a:ahLst/>
                <a:cxnLst/>
                <a:rect l="l" t="t" r="r" b="b"/>
                <a:pathLst>
                  <a:path w="51323" h="51323" extrusionOk="0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57"/>
              <p:cNvSpPr/>
              <p:nvPr/>
            </p:nvSpPr>
            <p:spPr>
              <a:xfrm rot="-5400000">
                <a:off x="12026199" y="6563439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57"/>
              <p:cNvSpPr/>
              <p:nvPr/>
            </p:nvSpPr>
            <p:spPr>
              <a:xfrm rot="-5400000">
                <a:off x="12018640" y="6529825"/>
                <a:ext cx="45208" cy="51256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6" extrusionOk="0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57"/>
              <p:cNvSpPr/>
              <p:nvPr/>
            </p:nvSpPr>
            <p:spPr>
              <a:xfrm rot="-5400000">
                <a:off x="12018195" y="6477145"/>
                <a:ext cx="28942" cy="68414"/>
              </a:xfrm>
              <a:custGeom>
                <a:avLst/>
                <a:gdLst/>
                <a:ahLst/>
                <a:cxnLst/>
                <a:rect l="l" t="t" r="r" b="b"/>
                <a:pathLst>
                  <a:path w="28942" h="68414" extrusionOk="0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57"/>
              <p:cNvSpPr/>
              <p:nvPr/>
            </p:nvSpPr>
            <p:spPr>
              <a:xfrm rot="-5400000">
                <a:off x="12016830" y="6161182"/>
                <a:ext cx="49036" cy="51048"/>
              </a:xfrm>
              <a:custGeom>
                <a:avLst/>
                <a:gdLst/>
                <a:ahLst/>
                <a:cxnLst/>
                <a:rect l="l" t="t" r="r" b="b"/>
                <a:pathLst>
                  <a:path w="49036" h="51048" extrusionOk="0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57"/>
              <p:cNvSpPr/>
              <p:nvPr/>
            </p:nvSpPr>
            <p:spPr>
              <a:xfrm rot="-5400000">
                <a:off x="12005374" y="6370523"/>
                <a:ext cx="71791" cy="51205"/>
              </a:xfrm>
              <a:custGeom>
                <a:avLst/>
                <a:gdLst/>
                <a:ahLst/>
                <a:cxnLst/>
                <a:rect l="l" t="t" r="r" b="b"/>
                <a:pathLst>
                  <a:path w="71791" h="51205" extrusionOk="0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57"/>
              <p:cNvSpPr/>
              <p:nvPr/>
            </p:nvSpPr>
            <p:spPr>
              <a:xfrm rot="-5400000">
                <a:off x="12026199" y="6307354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57"/>
              <p:cNvSpPr/>
              <p:nvPr/>
            </p:nvSpPr>
            <p:spPr>
              <a:xfrm rot="-5400000">
                <a:off x="12018641" y="6273739"/>
                <a:ext cx="45208" cy="51255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5" extrusionOk="0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57"/>
              <p:cNvSpPr/>
              <p:nvPr/>
            </p:nvSpPr>
            <p:spPr>
              <a:xfrm rot="-5400000">
                <a:off x="12017163" y="6218687"/>
                <a:ext cx="48082" cy="51510"/>
              </a:xfrm>
              <a:custGeom>
                <a:avLst/>
                <a:gdLst/>
                <a:ahLst/>
                <a:cxnLst/>
                <a:rect l="l" t="t" r="r" b="b"/>
                <a:pathLst>
                  <a:path w="48082" h="51510" extrusionOk="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pic>
          <p:nvPicPr>
            <p:cNvPr id="113" name="Google Shape;113;p1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rot="-5400000">
              <a:off x="11811888" y="6322371"/>
              <a:ext cx="441438" cy="6870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4" name="Google Shape;114;p157"/>
            <p:cNvSpPr txBox="1"/>
            <p:nvPr/>
          </p:nvSpPr>
          <p:spPr>
            <a:xfrm rot="-5400000">
              <a:off x="11250972" y="5263963"/>
              <a:ext cx="1567737" cy="110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3. All rights reserved.</a:t>
              </a:r>
              <a:endParaRPr sz="1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5" name="Google Shape;115;p157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005224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">
  <p:cSld name="1/3 Blue on Left"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159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8235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" name="Google Shape;118;p159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3077171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15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" name="Google Shape;120;p159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" name="Google Shape;121;p159"/>
          <p:cNvSpPr txBox="1">
            <a:spLocks noGrp="1"/>
          </p:cNvSpPr>
          <p:nvPr>
            <p:ph type="ftr" idx="11"/>
          </p:nvPr>
        </p:nvSpPr>
        <p:spPr>
          <a:xfrm>
            <a:off x="4360863" y="6450225"/>
            <a:ext cx="554513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800087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1_Breaker Slide_2">
    <p:bg>
      <p:bgPr>
        <a:solidFill>
          <a:schemeClr val="lt2"/>
        </a:solid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" name="Google Shape;123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4" name="Google Shape;124;p6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7058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" name="Google Shape;125;p69"/>
          <p:cNvSpPr txBox="1">
            <a:spLocks noGrp="1"/>
          </p:cNvSpPr>
          <p:nvPr>
            <p:ph type="title"/>
          </p:nvPr>
        </p:nvSpPr>
        <p:spPr>
          <a:xfrm>
            <a:off x="992390" y="4396228"/>
            <a:ext cx="6785798" cy="830997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058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 b="1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6" name="Google Shape;126;p69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27" name="Google Shape;127;p69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128;p69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129;p69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130;p69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131;p69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132;p69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133;p69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134;p69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135;p69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136;p69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137;p69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138;p69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139;p69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0" name="Google Shape;140;p69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" name="Google Shape;141;p6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" name="Google Shape;142;p69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615694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ue Layout">
  <p:cSld name="Blue Layou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56009C1-AC67-F3E6-0307-C3F068455F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675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Google Shape;49;p7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fr-FR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0" name="Google Shape;50;p74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51" name="Google Shape;51;p74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74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74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74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74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74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74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74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74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74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74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62;p74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63;p74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" name="Google Shape;64;p74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</a:t>
            </a:r>
            <a:r>
              <a:rPr lang="fr-FR" sz="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r>
              <a:rPr lang="fr-FR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. All </a:t>
            </a:r>
            <a:r>
              <a:rPr lang="fr-FR" sz="800" b="0" i="0" u="none" strike="noStrike" cap="none" dirty="0" err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ights</a:t>
            </a:r>
            <a:r>
              <a:rPr lang="fr-FR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sz="800" b="0" i="0" u="none" strike="noStrike" cap="none" dirty="0" err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served</a:t>
            </a:r>
            <a:r>
              <a:rPr lang="fr-FR" sz="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endParaRPr lang="fr-FR" dirty="0"/>
          </a:p>
        </p:txBody>
      </p:sp>
      <p:sp>
        <p:nvSpPr>
          <p:cNvPr id="65" name="Google Shape;65;p74"/>
          <p:cNvSpPr txBox="1">
            <a:spLocks noGrp="1"/>
          </p:cNvSpPr>
          <p:nvPr>
            <p:ph type="ftr" idx="11"/>
          </p:nvPr>
        </p:nvSpPr>
        <p:spPr>
          <a:xfrm>
            <a:off x="550863" y="6429905"/>
            <a:ext cx="95539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66" name="Google Shape;66;p7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ast Page">
  <p:cSld name="Last Page"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5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058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6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" name="Google Shape;145;p57"/>
          <p:cNvSpPr txBox="1"/>
          <p:nvPr/>
        </p:nvSpPr>
        <p:spPr>
          <a:xfrm>
            <a:off x="550863" y="5965461"/>
            <a:ext cx="30288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sng" strike="noStrike" cap="none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nfomineo.com</a:t>
            </a:r>
            <a:endParaRPr sz="1200" b="1" i="0" u="none" strike="noStrike" cap="none">
              <a:solidFill>
                <a:srgbClr val="43E1D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nfomineo Copyright © 2023. All rights reserved.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6" name="Google Shape;146;p5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583066" y="2859287"/>
            <a:ext cx="5025868" cy="11394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139096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1_Breaker Slide_2">
    <p:bg>
      <p:bgPr>
        <a:solidFill>
          <a:schemeClr val="lt2"/>
        </a:solidFill>
        <a:effectLst/>
      </p:bgPr>
    </p:bg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" name="Google Shape;148;p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49" name="Google Shape;149;p8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7058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0" name="Google Shape;150;p81"/>
          <p:cNvSpPr txBox="1">
            <a:spLocks noGrp="1"/>
          </p:cNvSpPr>
          <p:nvPr>
            <p:ph type="title"/>
          </p:nvPr>
        </p:nvSpPr>
        <p:spPr>
          <a:xfrm>
            <a:off x="992390" y="4396228"/>
            <a:ext cx="6785798" cy="830997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058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 b="1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1" name="Google Shape;151;p81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52" name="Google Shape;152;p81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153;p81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154;p81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81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156;p81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57;p81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58;p81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159;p81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81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81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81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81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164;p81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5" name="Google Shape;165;p81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6" name="Google Shape;166;p8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7" name="Google Shape;167;p81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526416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1_Breaker Slide_2">
    <p:bg>
      <p:bgPr>
        <a:solidFill>
          <a:schemeClr val="lt2"/>
        </a:solidFill>
        <a:effectLst/>
      </p:bgPr>
    </p:bg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" name="Google Shape;169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70" name="Google Shape;170;p2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7058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" name="Google Shape;171;p29"/>
          <p:cNvSpPr txBox="1">
            <a:spLocks noGrp="1"/>
          </p:cNvSpPr>
          <p:nvPr>
            <p:ph type="title"/>
          </p:nvPr>
        </p:nvSpPr>
        <p:spPr>
          <a:xfrm>
            <a:off x="992390" y="4396228"/>
            <a:ext cx="6785798" cy="830997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058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 b="1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2" name="Google Shape;172;p29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73" name="Google Shape;173;p29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29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29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29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29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29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29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29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29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29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29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29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29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6" name="Google Shape;186;p29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" name="Google Shape;187;p2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" name="Google Shape;188;p29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198474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1_Breaker Slide_2">
    <p:bg>
      <p:bgPr>
        <a:solidFill>
          <a:schemeClr val="lt2"/>
        </a:solidFill>
        <a:effectLst/>
      </p:bgPr>
    </p:bg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0" name="Google Shape;190;p1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12192000" cy="6827520"/>
          </a:xfrm>
          <a:prstGeom prst="rect">
            <a:avLst/>
          </a:prstGeom>
          <a:noFill/>
          <a:ln>
            <a:noFill/>
          </a:ln>
        </p:spPr>
      </p:pic>
      <p:sp>
        <p:nvSpPr>
          <p:cNvPr id="191" name="Google Shape;191;p16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7058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" name="Google Shape;192;p160"/>
          <p:cNvSpPr txBox="1">
            <a:spLocks noGrp="1"/>
          </p:cNvSpPr>
          <p:nvPr>
            <p:ph type="title"/>
          </p:nvPr>
        </p:nvSpPr>
        <p:spPr>
          <a:xfrm>
            <a:off x="992390" y="4396228"/>
            <a:ext cx="6785798" cy="830997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058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 b="1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3" name="Google Shape;193;p160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94" name="Google Shape;194;p160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60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60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60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60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60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60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60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60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03;p160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04;p160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05;p160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" name="Google Shape;206;p160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07" name="Google Shape;207;p160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8" name="Google Shape;208;p16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9" name="Google Shape;209;p160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968804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Grey background)">
  <p:cSld name="Title only (Grey background)">
    <p:bg>
      <p:bgPr>
        <a:solidFill>
          <a:schemeClr val="lt2"/>
        </a:solidFill>
        <a:effectLst/>
      </p:bgPr>
    </p:bg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p15"/>
          <p:cNvSpPr txBox="1">
            <a:spLocks noGrp="1"/>
          </p:cNvSpPr>
          <p:nvPr>
            <p:ph type="title"/>
          </p:nvPr>
        </p:nvSpPr>
        <p:spPr>
          <a:xfrm>
            <a:off x="551714" y="439247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0" name="Google Shape;310;p15"/>
          <p:cNvSpPr txBox="1">
            <a:spLocks noGrp="1"/>
          </p:cNvSpPr>
          <p:nvPr>
            <p:ph type="ftr" idx="11"/>
          </p:nvPr>
        </p:nvSpPr>
        <p:spPr>
          <a:xfrm>
            <a:off x="550862" y="6481670"/>
            <a:ext cx="954176" cy="1224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1" name="Google Shape;311;p15"/>
          <p:cNvSpPr txBox="1">
            <a:spLocks noGrp="1"/>
          </p:cNvSpPr>
          <p:nvPr>
            <p:ph type="sldNum" idx="12"/>
          </p:nvPr>
        </p:nvSpPr>
        <p:spPr>
          <a:xfrm>
            <a:off x="11489118" y="6493892"/>
            <a:ext cx="151718" cy="110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053594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ustom Layout">
  <p:cSld name="7_Custom Layout"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26"/>
          <p:cNvSpPr/>
          <p:nvPr/>
        </p:nvSpPr>
        <p:spPr>
          <a:xfrm>
            <a:off x="6096005" y="-1"/>
            <a:ext cx="6098539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411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82939" tIns="41458" rIns="82939" bIns="414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79"/>
              <a:buFont typeface="Arial"/>
              <a:buNone/>
            </a:pPr>
            <a:endParaRPr sz="1432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4" name="Google Shape;314;p26"/>
          <p:cNvSpPr txBox="1">
            <a:spLocks noGrp="1"/>
          </p:cNvSpPr>
          <p:nvPr>
            <p:ph type="sldNum" idx="12"/>
          </p:nvPr>
        </p:nvSpPr>
        <p:spPr>
          <a:xfrm>
            <a:off x="11489420" y="6473572"/>
            <a:ext cx="151718" cy="110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315" name="Google Shape;315;p26"/>
          <p:cNvSpPr txBox="1">
            <a:spLocks noGrp="1"/>
          </p:cNvSpPr>
          <p:nvPr>
            <p:ph type="ftr" idx="11"/>
          </p:nvPr>
        </p:nvSpPr>
        <p:spPr>
          <a:xfrm>
            <a:off x="550862" y="6481670"/>
            <a:ext cx="424079" cy="1224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6" name="Google Shape;316;p26"/>
          <p:cNvSpPr txBox="1">
            <a:spLocks noGrp="1"/>
          </p:cNvSpPr>
          <p:nvPr>
            <p:ph type="title"/>
          </p:nvPr>
        </p:nvSpPr>
        <p:spPr>
          <a:xfrm>
            <a:off x="551714" y="439247"/>
            <a:ext cx="54003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7" name="Google Shape;317;p26"/>
          <p:cNvGrpSpPr/>
          <p:nvPr/>
        </p:nvGrpSpPr>
        <p:grpSpPr>
          <a:xfrm>
            <a:off x="12005994" y="4945743"/>
            <a:ext cx="88229" cy="1637635"/>
            <a:chOff x="10528644" y="5474624"/>
            <a:chExt cx="77372" cy="1805189"/>
          </a:xfrm>
        </p:grpSpPr>
        <p:grpSp>
          <p:nvGrpSpPr>
            <p:cNvPr id="318" name="Google Shape;318;p26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319" name="Google Shape;319;p26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26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26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26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26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26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26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26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26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26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26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0" name="Google Shape;330;p26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1" name="Google Shape;331;p26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32" name="Google Shape;332;p26"/>
            <p:cNvSpPr txBox="1"/>
            <p:nvPr/>
          </p:nvSpPr>
          <p:spPr>
            <a:xfrm rot="16200000">
              <a:off x="9886053" y="6117215"/>
              <a:ext cx="1362553" cy="773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2"/>
                <a:buFont typeface="Arial"/>
                <a:buNone/>
              </a:pPr>
              <a:r>
                <a:rPr lang="en-IN" sz="637" b="0" i="0" u="none" strike="noStrike" cap="none">
                  <a:solidFill>
                    <a:schemeClr val="lt2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 All rights reserved.</a:t>
              </a:r>
              <a:endParaRPr sz="127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21406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ustom Layout">
  <p:cSld name="6_Custom Layout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25"/>
          <p:cNvSpPr/>
          <p:nvPr/>
        </p:nvSpPr>
        <p:spPr>
          <a:xfrm>
            <a:off x="8134763" y="-1"/>
            <a:ext cx="4059776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411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82939" tIns="41458" rIns="82939" bIns="414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79"/>
              <a:buFont typeface="Arial"/>
              <a:buNone/>
            </a:pPr>
            <a:endParaRPr sz="1432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5" name="Google Shape;335;p25"/>
          <p:cNvSpPr txBox="1">
            <a:spLocks noGrp="1"/>
          </p:cNvSpPr>
          <p:nvPr>
            <p:ph type="sldNum" idx="12"/>
          </p:nvPr>
        </p:nvSpPr>
        <p:spPr>
          <a:xfrm>
            <a:off x="11489420" y="6473572"/>
            <a:ext cx="151718" cy="110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336" name="Google Shape;336;p25"/>
          <p:cNvSpPr txBox="1">
            <a:spLocks noGrp="1"/>
          </p:cNvSpPr>
          <p:nvPr>
            <p:ph type="ftr" idx="11"/>
          </p:nvPr>
        </p:nvSpPr>
        <p:spPr>
          <a:xfrm>
            <a:off x="550862" y="6481670"/>
            <a:ext cx="424079" cy="1224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7" name="Google Shape;337;p25"/>
          <p:cNvSpPr txBox="1">
            <a:spLocks noGrp="1"/>
          </p:cNvSpPr>
          <p:nvPr>
            <p:ph type="title"/>
          </p:nvPr>
        </p:nvSpPr>
        <p:spPr>
          <a:xfrm>
            <a:off x="551713" y="439247"/>
            <a:ext cx="7348281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8" name="Google Shape;338;p25"/>
          <p:cNvGrpSpPr/>
          <p:nvPr/>
        </p:nvGrpSpPr>
        <p:grpSpPr>
          <a:xfrm>
            <a:off x="12005994" y="4935563"/>
            <a:ext cx="88229" cy="1647813"/>
            <a:chOff x="10528644" y="5463404"/>
            <a:chExt cx="77372" cy="1816409"/>
          </a:xfrm>
        </p:grpSpPr>
        <p:grpSp>
          <p:nvGrpSpPr>
            <p:cNvPr id="339" name="Google Shape;339;p25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340" name="Google Shape;340;p25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1" name="Google Shape;341;p25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2" name="Google Shape;342;p25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3" name="Google Shape;343;p25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4" name="Google Shape;344;p25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5" name="Google Shape;345;p25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6" name="Google Shape;346;p25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7" name="Google Shape;347;p25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8" name="Google Shape;348;p25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9" name="Google Shape;349;p25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0" name="Google Shape;350;p25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1" name="Google Shape;351;p25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2" name="Google Shape;352;p25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53" name="Google Shape;353;p25"/>
            <p:cNvSpPr txBox="1"/>
            <p:nvPr/>
          </p:nvSpPr>
          <p:spPr>
            <a:xfrm rot="16200000">
              <a:off x="9874832" y="6117216"/>
              <a:ext cx="1384995" cy="773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2"/>
                <a:buFont typeface="Arial"/>
                <a:buNone/>
              </a:pPr>
              <a:r>
                <a:rPr lang="en-IN" sz="637" b="0" i="0" u="none" strike="noStrike" cap="none">
                  <a:solidFill>
                    <a:schemeClr val="lt2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. All rights reserved.</a:t>
              </a:r>
              <a:endParaRPr sz="127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99170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2)">
  <p:cSld name="Title Slide (Option 2)">
    <p:spTree>
      <p:nvGrpSpPr>
        <p:cNvPr id="1" name="Shape 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5" name="Google Shape;355;p10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8469" t="3128" r="8467" b="3126"/>
          <a:stretch/>
        </p:blipFill>
        <p:spPr>
          <a:xfrm>
            <a:off x="270003" y="214802"/>
            <a:ext cx="11651995" cy="6428398"/>
          </a:xfrm>
          <a:prstGeom prst="rect">
            <a:avLst/>
          </a:prstGeom>
          <a:noFill/>
          <a:ln>
            <a:noFill/>
          </a:ln>
        </p:spPr>
      </p:pic>
      <p:sp>
        <p:nvSpPr>
          <p:cNvPr id="356" name="Google Shape;356;p10"/>
          <p:cNvSpPr/>
          <p:nvPr/>
        </p:nvSpPr>
        <p:spPr>
          <a:xfrm>
            <a:off x="536448" y="435593"/>
            <a:ext cx="7311390" cy="6422408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9411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9411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82939" tIns="41458" rIns="82939" bIns="414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79"/>
              <a:buFont typeface="Arial"/>
              <a:buNone/>
            </a:pPr>
            <a:endParaRPr sz="1432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7" name="Google Shape;357;p10"/>
          <p:cNvSpPr txBox="1">
            <a:spLocks noGrp="1"/>
          </p:cNvSpPr>
          <p:nvPr>
            <p:ph type="ctrTitle"/>
          </p:nvPr>
        </p:nvSpPr>
        <p:spPr>
          <a:xfrm>
            <a:off x="1052814" y="3669575"/>
            <a:ext cx="6135525" cy="628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4536" cap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8" name="Google Shape;358;p10"/>
          <p:cNvSpPr txBox="1">
            <a:spLocks noGrp="1"/>
          </p:cNvSpPr>
          <p:nvPr>
            <p:ph type="subTitle" idx="1"/>
          </p:nvPr>
        </p:nvSpPr>
        <p:spPr>
          <a:xfrm>
            <a:off x="1052814" y="4368098"/>
            <a:ext cx="6135525" cy="3699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796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814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398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239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620"/>
              <a:buChar char="•"/>
              <a:defRPr/>
            </a:lvl4pPr>
            <a:lvl5pPr lvl="4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59" name="Google Shape;359;p1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2812" y="839089"/>
            <a:ext cx="3139250" cy="566201"/>
          </a:xfrm>
          <a:prstGeom prst="rect">
            <a:avLst/>
          </a:prstGeom>
          <a:noFill/>
          <a:ln>
            <a:noFill/>
          </a:ln>
        </p:spPr>
      </p:pic>
      <p:sp>
        <p:nvSpPr>
          <p:cNvPr id="360" name="Google Shape;360;p10"/>
          <p:cNvSpPr txBox="1">
            <a:spLocks noGrp="1"/>
          </p:cNvSpPr>
          <p:nvPr>
            <p:ph type="dt" idx="10"/>
          </p:nvPr>
        </p:nvSpPr>
        <p:spPr>
          <a:xfrm>
            <a:off x="1050484" y="5923693"/>
            <a:ext cx="1768334" cy="223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0" i="0" u="none" strike="noStrike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346681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3)">
  <p:cSld name="Title Slide (Option 3)"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2" name="Google Shape;362;p11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10467" t="6401" r="10469" b="6358"/>
          <a:stretch/>
        </p:blipFill>
        <p:spPr>
          <a:xfrm>
            <a:off x="550315" y="439247"/>
            <a:ext cx="11091371" cy="5982388"/>
          </a:xfrm>
          <a:prstGeom prst="rect">
            <a:avLst/>
          </a:prstGeom>
          <a:noFill/>
          <a:ln>
            <a:noFill/>
          </a:ln>
        </p:spPr>
      </p:pic>
      <p:sp>
        <p:nvSpPr>
          <p:cNvPr id="363" name="Google Shape;363;p11"/>
          <p:cNvSpPr/>
          <p:nvPr/>
        </p:nvSpPr>
        <p:spPr>
          <a:xfrm>
            <a:off x="1100628" y="875612"/>
            <a:ext cx="6747210" cy="5982388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9411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9411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82939" tIns="41458" rIns="82939" bIns="414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79"/>
              <a:buFont typeface="Arial"/>
              <a:buNone/>
            </a:pPr>
            <a:endParaRPr sz="1432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4" name="Google Shape;364;p11"/>
          <p:cNvSpPr txBox="1">
            <a:spLocks noGrp="1"/>
          </p:cNvSpPr>
          <p:nvPr>
            <p:ph type="ctrTitle"/>
          </p:nvPr>
        </p:nvSpPr>
        <p:spPr>
          <a:xfrm>
            <a:off x="1631950" y="4000662"/>
            <a:ext cx="5552542" cy="628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4536" cap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5" name="Google Shape;365;p11"/>
          <p:cNvSpPr txBox="1">
            <a:spLocks noGrp="1"/>
          </p:cNvSpPr>
          <p:nvPr>
            <p:ph type="subTitle" idx="1"/>
          </p:nvPr>
        </p:nvSpPr>
        <p:spPr>
          <a:xfrm>
            <a:off x="1631950" y="4689426"/>
            <a:ext cx="5552542" cy="3699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796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814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398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239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620"/>
              <a:buChar char="•"/>
              <a:defRPr/>
            </a:lvl4pPr>
            <a:lvl5pPr lvl="4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66" name="Google Shape;366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631950" y="1333033"/>
            <a:ext cx="3139250" cy="563583"/>
          </a:xfrm>
          <a:prstGeom prst="rect">
            <a:avLst/>
          </a:prstGeom>
          <a:noFill/>
          <a:ln>
            <a:noFill/>
          </a:ln>
        </p:spPr>
      </p:pic>
      <p:sp>
        <p:nvSpPr>
          <p:cNvPr id="367" name="Google Shape;367;p11"/>
          <p:cNvSpPr txBox="1">
            <a:spLocks noGrp="1"/>
          </p:cNvSpPr>
          <p:nvPr>
            <p:ph type="dt" idx="10"/>
          </p:nvPr>
        </p:nvSpPr>
        <p:spPr>
          <a:xfrm>
            <a:off x="1631949" y="5923693"/>
            <a:ext cx="1768334" cy="223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0" i="0" u="none" strike="noStrike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183257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4)">
  <p:cSld name="Title Slide (Option 4)"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9" name="Google Shape;369;p12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6543" t="14185" r="6544" b="7999"/>
          <a:stretch/>
        </p:blipFill>
        <p:spPr>
          <a:xfrm>
            <a:off x="1" y="1522048"/>
            <a:ext cx="12192000" cy="5335952"/>
          </a:xfrm>
          <a:prstGeom prst="rect">
            <a:avLst/>
          </a:prstGeom>
          <a:noFill/>
          <a:ln>
            <a:noFill/>
          </a:ln>
        </p:spPr>
      </p:pic>
      <p:sp>
        <p:nvSpPr>
          <p:cNvPr id="370" name="Google Shape;370;p12"/>
          <p:cNvSpPr/>
          <p:nvPr/>
        </p:nvSpPr>
        <p:spPr>
          <a:xfrm>
            <a:off x="536448" y="0"/>
            <a:ext cx="7309714" cy="6308726"/>
          </a:xfrm>
          <a:prstGeom prst="rect">
            <a:avLst/>
          </a:prstGeom>
          <a:gradFill>
            <a:gsLst>
              <a:gs pos="0">
                <a:srgbClr val="062379"/>
              </a:gs>
              <a:gs pos="39000">
                <a:srgbClr val="0934B6">
                  <a:alpha val="94509"/>
                </a:srgbClr>
              </a:gs>
              <a:gs pos="74000">
                <a:srgbClr val="036DFF">
                  <a:alpha val="80000"/>
                </a:srgbClr>
              </a:gs>
              <a:gs pos="100000">
                <a:srgbClr val="43E1D3">
                  <a:alpha val="89411"/>
                </a:srgbClr>
              </a:gs>
            </a:gsLst>
            <a:lin ang="3600000" scaled="0"/>
          </a:gradFill>
          <a:ln>
            <a:noFill/>
          </a:ln>
        </p:spPr>
        <p:txBody>
          <a:bodyPr spcFirstLastPara="1" wrap="square" lIns="82939" tIns="41458" rIns="82939" bIns="414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79"/>
              <a:buFont typeface="Arial"/>
              <a:buNone/>
            </a:pPr>
            <a:endParaRPr sz="1432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1" name="Google Shape;371;p12"/>
          <p:cNvSpPr txBox="1">
            <a:spLocks noGrp="1"/>
          </p:cNvSpPr>
          <p:nvPr>
            <p:ph type="ctrTitle"/>
          </p:nvPr>
        </p:nvSpPr>
        <p:spPr>
          <a:xfrm>
            <a:off x="1064010" y="3669572"/>
            <a:ext cx="6285439" cy="628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4536" cap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2" name="Google Shape;372;p12"/>
          <p:cNvSpPr txBox="1">
            <a:spLocks noGrp="1"/>
          </p:cNvSpPr>
          <p:nvPr>
            <p:ph type="subTitle" idx="1"/>
          </p:nvPr>
        </p:nvSpPr>
        <p:spPr>
          <a:xfrm>
            <a:off x="1064010" y="4358339"/>
            <a:ext cx="6285439" cy="3699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796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814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398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239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620"/>
              <a:buChar char="•"/>
              <a:defRPr/>
            </a:lvl4pPr>
            <a:lvl5pPr lvl="4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73" name="Google Shape;373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4010" y="456267"/>
            <a:ext cx="3400581" cy="610500"/>
          </a:xfrm>
          <a:prstGeom prst="rect">
            <a:avLst/>
          </a:prstGeom>
          <a:noFill/>
          <a:ln>
            <a:noFill/>
          </a:ln>
        </p:spPr>
      </p:pic>
      <p:sp>
        <p:nvSpPr>
          <p:cNvPr id="374" name="Google Shape;374;p12"/>
          <p:cNvSpPr txBox="1">
            <a:spLocks noGrp="1"/>
          </p:cNvSpPr>
          <p:nvPr>
            <p:ph type="dt" idx="10"/>
          </p:nvPr>
        </p:nvSpPr>
        <p:spPr>
          <a:xfrm>
            <a:off x="1050484" y="5755688"/>
            <a:ext cx="1768334" cy="223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0" i="0" u="none" strike="noStrike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91933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+Subtitle Layout">
  <p:cSld name="Title+Subtitle Layout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4D6639-1248-114E-D49D-13C78B636B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1984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Google Shape;72;p76"/>
          <p:cNvSpPr txBox="1">
            <a:spLocks noGrp="1"/>
          </p:cNvSpPr>
          <p:nvPr>
            <p:ph type="ftr" idx="11"/>
          </p:nvPr>
        </p:nvSpPr>
        <p:spPr>
          <a:xfrm>
            <a:off x="550862" y="6450225"/>
            <a:ext cx="95539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73" name="Google Shape;73;p7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74" name="Google Shape;74;p76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75" name="Google Shape;75;p76"/>
          <p:cNvSpPr txBox="1">
            <a:spLocks noGrp="1"/>
          </p:cNvSpPr>
          <p:nvPr>
            <p:ph type="body" idx="1"/>
          </p:nvPr>
        </p:nvSpPr>
        <p:spPr>
          <a:xfrm>
            <a:off x="550862" y="1028324"/>
            <a:ext cx="11089972" cy="420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6D90F8"/>
              </a:buClr>
              <a:buSzPts val="2000"/>
              <a:buNone/>
              <a:defRPr sz="2000">
                <a:solidFill>
                  <a:srgbClr val="6D90F8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 Layout">
  <p:cSld name="5 Column Layout"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p18"/>
          <p:cNvSpPr txBox="1">
            <a:spLocks noGrp="1"/>
          </p:cNvSpPr>
          <p:nvPr>
            <p:ph type="title"/>
          </p:nvPr>
        </p:nvSpPr>
        <p:spPr>
          <a:xfrm>
            <a:off x="551714" y="439247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" name="Google Shape;377;p18"/>
          <p:cNvSpPr txBox="1">
            <a:spLocks noGrp="1"/>
          </p:cNvSpPr>
          <p:nvPr>
            <p:ph type="ftr" idx="11"/>
          </p:nvPr>
        </p:nvSpPr>
        <p:spPr>
          <a:xfrm>
            <a:off x="550862" y="6481670"/>
            <a:ext cx="424079" cy="1224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8" name="Google Shape;378;p18"/>
          <p:cNvSpPr txBox="1">
            <a:spLocks noGrp="1"/>
          </p:cNvSpPr>
          <p:nvPr>
            <p:ph type="sldNum" idx="12"/>
          </p:nvPr>
        </p:nvSpPr>
        <p:spPr>
          <a:xfrm>
            <a:off x="11489118" y="6493892"/>
            <a:ext cx="151718" cy="110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379" name="Google Shape;379;p18"/>
          <p:cNvSpPr txBox="1">
            <a:spLocks noGrp="1"/>
          </p:cNvSpPr>
          <p:nvPr>
            <p:ph type="body" idx="1"/>
          </p:nvPr>
        </p:nvSpPr>
        <p:spPr>
          <a:xfrm>
            <a:off x="550864" y="2114295"/>
            <a:ext cx="1983600" cy="2903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14772" lvl="0" indent="-207386" algn="l">
              <a:lnSpc>
                <a:spcPct val="95000"/>
              </a:lnSpc>
              <a:spcBef>
                <a:spcPts val="796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270">
                <a:latin typeface="Calibri"/>
                <a:ea typeface="Calibri"/>
                <a:cs typeface="Calibri"/>
                <a:sym typeface="Calibri"/>
              </a:defRPr>
            </a:lvl1pPr>
            <a:lvl2pPr marL="829544" lvl="1" indent="-279971" algn="l">
              <a:lnSpc>
                <a:spcPct val="95000"/>
              </a:lnSpc>
              <a:spcBef>
                <a:spcPts val="398"/>
              </a:spcBef>
              <a:spcAft>
                <a:spcPts val="0"/>
              </a:spcAft>
              <a:buSzPts val="1260"/>
              <a:buChar char="▪"/>
              <a:defRPr sz="1270">
                <a:latin typeface="Calibri"/>
                <a:ea typeface="Calibri"/>
                <a:cs typeface="Calibri"/>
                <a:sym typeface="Calibri"/>
              </a:defRPr>
            </a:lvl2pPr>
            <a:lvl3pPr marL="1244316" lvl="2" indent="-207386" algn="l">
              <a:lnSpc>
                <a:spcPct val="95000"/>
              </a:lnSpc>
              <a:spcBef>
                <a:spcPts val="239"/>
              </a:spcBef>
              <a:spcAft>
                <a:spcPts val="0"/>
              </a:spcAft>
              <a:buSzPts val="1400"/>
              <a:buNone/>
              <a:defRPr sz="1270">
                <a:latin typeface="Calibri"/>
                <a:ea typeface="Calibri"/>
                <a:cs typeface="Calibri"/>
                <a:sym typeface="Calibri"/>
              </a:defRPr>
            </a:lvl3pPr>
            <a:lvl4pPr marL="1659087" lvl="3" indent="-279971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260"/>
              <a:buChar char="•"/>
              <a:defRPr sz="1270">
                <a:latin typeface="Calibri"/>
                <a:ea typeface="Calibri"/>
                <a:cs typeface="Calibri"/>
                <a:sym typeface="Calibri"/>
              </a:defRPr>
            </a:lvl4pPr>
            <a:lvl5pPr marL="2073859" lvl="4" indent="-288036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400"/>
              <a:buChar char="−"/>
              <a:defRPr sz="1270">
                <a:latin typeface="Calibri"/>
                <a:ea typeface="Calibri"/>
                <a:cs typeface="Calibri"/>
                <a:sym typeface="Calibri"/>
              </a:defRPr>
            </a:lvl5pPr>
            <a:lvl6pPr marL="2488631" lvl="5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903403" lvl="6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318175" lvl="7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732947" lvl="8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0" name="Google Shape;380;p18"/>
          <p:cNvSpPr txBox="1">
            <a:spLocks noGrp="1"/>
          </p:cNvSpPr>
          <p:nvPr>
            <p:ph type="body" idx="2"/>
          </p:nvPr>
        </p:nvSpPr>
        <p:spPr>
          <a:xfrm>
            <a:off x="550864" y="1795870"/>
            <a:ext cx="1983600" cy="343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14772" lvl="0" indent="-207386" algn="l">
              <a:lnSpc>
                <a:spcPct val="95000"/>
              </a:lnSpc>
              <a:spcBef>
                <a:spcPts val="796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633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829544" lvl="1" indent="-300709" algn="l">
              <a:lnSpc>
                <a:spcPct val="95000"/>
              </a:lnSpc>
              <a:spcBef>
                <a:spcPts val="398"/>
              </a:spcBef>
              <a:spcAft>
                <a:spcPts val="0"/>
              </a:spcAft>
              <a:buSzPts val="1620"/>
              <a:buChar char="▪"/>
              <a:defRPr/>
            </a:lvl2pPr>
            <a:lvl3pPr marL="1244316" lvl="2" indent="-311079" algn="l">
              <a:lnSpc>
                <a:spcPct val="95000"/>
              </a:lnSpc>
              <a:spcBef>
                <a:spcPts val="239"/>
              </a:spcBef>
              <a:spcAft>
                <a:spcPts val="0"/>
              </a:spcAft>
              <a:buSzPts val="1800"/>
              <a:buChar char="−"/>
              <a:defRPr/>
            </a:lvl3pPr>
            <a:lvl4pPr marL="1659087" lvl="3" indent="-300709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620"/>
              <a:buChar char="•"/>
              <a:defRPr/>
            </a:lvl4pPr>
            <a:lvl5pPr marL="2073859" lvl="4" indent="-311079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800"/>
              <a:buChar char="−"/>
              <a:defRPr/>
            </a:lvl5pPr>
            <a:lvl6pPr marL="2488631" lvl="5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903403" lvl="6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318175" lvl="7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732947" lvl="8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1" name="Google Shape;381;p18"/>
          <p:cNvSpPr txBox="1">
            <a:spLocks noGrp="1"/>
          </p:cNvSpPr>
          <p:nvPr>
            <p:ph type="body" idx="3"/>
          </p:nvPr>
        </p:nvSpPr>
        <p:spPr>
          <a:xfrm>
            <a:off x="5104053" y="2114295"/>
            <a:ext cx="1980034" cy="2903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14772" lvl="0" indent="-207386" algn="l">
              <a:lnSpc>
                <a:spcPct val="95000"/>
              </a:lnSpc>
              <a:spcBef>
                <a:spcPts val="796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270">
                <a:latin typeface="Calibri"/>
                <a:ea typeface="Calibri"/>
                <a:cs typeface="Calibri"/>
                <a:sym typeface="Calibri"/>
              </a:defRPr>
            </a:lvl1pPr>
            <a:lvl2pPr marL="829544" lvl="1" indent="-279971" algn="l">
              <a:lnSpc>
                <a:spcPct val="95000"/>
              </a:lnSpc>
              <a:spcBef>
                <a:spcPts val="398"/>
              </a:spcBef>
              <a:spcAft>
                <a:spcPts val="0"/>
              </a:spcAft>
              <a:buSzPts val="1260"/>
              <a:buChar char="▪"/>
              <a:defRPr sz="1270">
                <a:latin typeface="Calibri"/>
                <a:ea typeface="Calibri"/>
                <a:cs typeface="Calibri"/>
                <a:sym typeface="Calibri"/>
              </a:defRPr>
            </a:lvl2pPr>
            <a:lvl3pPr marL="1244316" lvl="2" indent="-288036" algn="l">
              <a:lnSpc>
                <a:spcPct val="95000"/>
              </a:lnSpc>
              <a:spcBef>
                <a:spcPts val="239"/>
              </a:spcBef>
              <a:spcAft>
                <a:spcPts val="0"/>
              </a:spcAft>
              <a:buSzPts val="1400"/>
              <a:buChar char="−"/>
              <a:defRPr sz="1270">
                <a:latin typeface="Calibri"/>
                <a:ea typeface="Calibri"/>
                <a:cs typeface="Calibri"/>
                <a:sym typeface="Calibri"/>
              </a:defRPr>
            </a:lvl3pPr>
            <a:lvl4pPr marL="1659087" lvl="3" indent="-279971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260"/>
              <a:buChar char="•"/>
              <a:defRPr sz="1270">
                <a:latin typeface="Calibri"/>
                <a:ea typeface="Calibri"/>
                <a:cs typeface="Calibri"/>
                <a:sym typeface="Calibri"/>
              </a:defRPr>
            </a:lvl4pPr>
            <a:lvl5pPr marL="2073859" lvl="4" indent="-288036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400"/>
              <a:buChar char="−"/>
              <a:defRPr sz="1270">
                <a:latin typeface="Calibri"/>
                <a:ea typeface="Calibri"/>
                <a:cs typeface="Calibri"/>
                <a:sym typeface="Calibri"/>
              </a:defRPr>
            </a:lvl5pPr>
            <a:lvl6pPr marL="2488631" lvl="5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903403" lvl="6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318175" lvl="7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732947" lvl="8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2" name="Google Shape;382;p18"/>
          <p:cNvSpPr txBox="1">
            <a:spLocks noGrp="1"/>
          </p:cNvSpPr>
          <p:nvPr>
            <p:ph type="body" idx="4"/>
          </p:nvPr>
        </p:nvSpPr>
        <p:spPr>
          <a:xfrm>
            <a:off x="5104053" y="1795870"/>
            <a:ext cx="1980034" cy="343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14772" lvl="0" indent="-207386" algn="l">
              <a:lnSpc>
                <a:spcPct val="95000"/>
              </a:lnSpc>
              <a:spcBef>
                <a:spcPts val="796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633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829544" lvl="1" indent="-300709" algn="l">
              <a:lnSpc>
                <a:spcPct val="95000"/>
              </a:lnSpc>
              <a:spcBef>
                <a:spcPts val="398"/>
              </a:spcBef>
              <a:spcAft>
                <a:spcPts val="0"/>
              </a:spcAft>
              <a:buSzPts val="1620"/>
              <a:buChar char="▪"/>
              <a:defRPr/>
            </a:lvl2pPr>
            <a:lvl3pPr marL="1244316" lvl="2" indent="-311079" algn="l">
              <a:lnSpc>
                <a:spcPct val="95000"/>
              </a:lnSpc>
              <a:spcBef>
                <a:spcPts val="239"/>
              </a:spcBef>
              <a:spcAft>
                <a:spcPts val="0"/>
              </a:spcAft>
              <a:buSzPts val="1800"/>
              <a:buChar char="−"/>
              <a:defRPr/>
            </a:lvl3pPr>
            <a:lvl4pPr marL="1659087" lvl="3" indent="-300709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620"/>
              <a:buChar char="•"/>
              <a:defRPr/>
            </a:lvl4pPr>
            <a:lvl5pPr marL="2073859" lvl="4" indent="-311079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800"/>
              <a:buChar char="−"/>
              <a:defRPr/>
            </a:lvl5pPr>
            <a:lvl6pPr marL="2488631" lvl="5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903403" lvl="6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318175" lvl="7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732947" lvl="8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3" name="Google Shape;383;p18"/>
          <p:cNvSpPr txBox="1">
            <a:spLocks noGrp="1"/>
          </p:cNvSpPr>
          <p:nvPr>
            <p:ph type="body" idx="5"/>
          </p:nvPr>
        </p:nvSpPr>
        <p:spPr>
          <a:xfrm>
            <a:off x="2827458" y="2114295"/>
            <a:ext cx="1983600" cy="2903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14772" lvl="0" indent="-207386" algn="l">
              <a:lnSpc>
                <a:spcPct val="95000"/>
              </a:lnSpc>
              <a:spcBef>
                <a:spcPts val="796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270">
                <a:latin typeface="Calibri"/>
                <a:ea typeface="Calibri"/>
                <a:cs typeface="Calibri"/>
                <a:sym typeface="Calibri"/>
              </a:defRPr>
            </a:lvl1pPr>
            <a:lvl2pPr marL="829544" lvl="1" indent="-279971" algn="l">
              <a:lnSpc>
                <a:spcPct val="95000"/>
              </a:lnSpc>
              <a:spcBef>
                <a:spcPts val="398"/>
              </a:spcBef>
              <a:spcAft>
                <a:spcPts val="0"/>
              </a:spcAft>
              <a:buSzPts val="1260"/>
              <a:buChar char="▪"/>
              <a:defRPr sz="1270">
                <a:latin typeface="Calibri"/>
                <a:ea typeface="Calibri"/>
                <a:cs typeface="Calibri"/>
                <a:sym typeface="Calibri"/>
              </a:defRPr>
            </a:lvl2pPr>
            <a:lvl3pPr marL="1244316" lvl="2" indent="-207386" algn="l">
              <a:lnSpc>
                <a:spcPct val="95000"/>
              </a:lnSpc>
              <a:spcBef>
                <a:spcPts val="239"/>
              </a:spcBef>
              <a:spcAft>
                <a:spcPts val="0"/>
              </a:spcAft>
              <a:buSzPts val="1400"/>
              <a:buNone/>
              <a:defRPr sz="1270">
                <a:latin typeface="Calibri"/>
                <a:ea typeface="Calibri"/>
                <a:cs typeface="Calibri"/>
                <a:sym typeface="Calibri"/>
              </a:defRPr>
            </a:lvl3pPr>
            <a:lvl4pPr marL="1659087" lvl="3" indent="-279971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260"/>
              <a:buChar char="•"/>
              <a:defRPr sz="1270">
                <a:latin typeface="Calibri"/>
                <a:ea typeface="Calibri"/>
                <a:cs typeface="Calibri"/>
                <a:sym typeface="Calibri"/>
              </a:defRPr>
            </a:lvl4pPr>
            <a:lvl5pPr marL="2073859" lvl="4" indent="-288036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400"/>
              <a:buChar char="−"/>
              <a:defRPr sz="1270">
                <a:latin typeface="Calibri"/>
                <a:ea typeface="Calibri"/>
                <a:cs typeface="Calibri"/>
                <a:sym typeface="Calibri"/>
              </a:defRPr>
            </a:lvl5pPr>
            <a:lvl6pPr marL="2488631" lvl="5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903403" lvl="6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318175" lvl="7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732947" lvl="8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" name="Google Shape;384;p18"/>
          <p:cNvSpPr txBox="1">
            <a:spLocks noGrp="1"/>
          </p:cNvSpPr>
          <p:nvPr>
            <p:ph type="body" idx="6"/>
          </p:nvPr>
        </p:nvSpPr>
        <p:spPr>
          <a:xfrm>
            <a:off x="2827458" y="1795870"/>
            <a:ext cx="1983600" cy="343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14772" lvl="0" indent="-207386" algn="l">
              <a:lnSpc>
                <a:spcPct val="95000"/>
              </a:lnSpc>
              <a:spcBef>
                <a:spcPts val="796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633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829544" lvl="1" indent="-300709" algn="l">
              <a:lnSpc>
                <a:spcPct val="95000"/>
              </a:lnSpc>
              <a:spcBef>
                <a:spcPts val="398"/>
              </a:spcBef>
              <a:spcAft>
                <a:spcPts val="0"/>
              </a:spcAft>
              <a:buSzPts val="1620"/>
              <a:buChar char="▪"/>
              <a:defRPr/>
            </a:lvl2pPr>
            <a:lvl3pPr marL="1244316" lvl="2" indent="-311079" algn="l">
              <a:lnSpc>
                <a:spcPct val="95000"/>
              </a:lnSpc>
              <a:spcBef>
                <a:spcPts val="239"/>
              </a:spcBef>
              <a:spcAft>
                <a:spcPts val="0"/>
              </a:spcAft>
              <a:buSzPts val="1800"/>
              <a:buChar char="−"/>
              <a:defRPr/>
            </a:lvl3pPr>
            <a:lvl4pPr marL="1659087" lvl="3" indent="-300709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620"/>
              <a:buChar char="•"/>
              <a:defRPr/>
            </a:lvl4pPr>
            <a:lvl5pPr marL="2073859" lvl="4" indent="-311079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800"/>
              <a:buChar char="−"/>
              <a:defRPr/>
            </a:lvl5pPr>
            <a:lvl6pPr marL="2488631" lvl="5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903403" lvl="6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318175" lvl="7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732947" lvl="8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5" name="Google Shape;385;p18"/>
          <p:cNvSpPr txBox="1">
            <a:spLocks noGrp="1"/>
          </p:cNvSpPr>
          <p:nvPr>
            <p:ph type="body" idx="7"/>
          </p:nvPr>
        </p:nvSpPr>
        <p:spPr>
          <a:xfrm>
            <a:off x="7380643" y="2114295"/>
            <a:ext cx="1980034" cy="2903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14772" lvl="0" indent="-207386" algn="l">
              <a:lnSpc>
                <a:spcPct val="95000"/>
              </a:lnSpc>
              <a:spcBef>
                <a:spcPts val="796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270">
                <a:latin typeface="Calibri"/>
                <a:ea typeface="Calibri"/>
                <a:cs typeface="Calibri"/>
                <a:sym typeface="Calibri"/>
              </a:defRPr>
            </a:lvl1pPr>
            <a:lvl2pPr marL="829544" lvl="1" indent="-279971" algn="l">
              <a:lnSpc>
                <a:spcPct val="95000"/>
              </a:lnSpc>
              <a:spcBef>
                <a:spcPts val="398"/>
              </a:spcBef>
              <a:spcAft>
                <a:spcPts val="0"/>
              </a:spcAft>
              <a:buSzPts val="1260"/>
              <a:buChar char="▪"/>
              <a:defRPr sz="1270">
                <a:latin typeface="Calibri"/>
                <a:ea typeface="Calibri"/>
                <a:cs typeface="Calibri"/>
                <a:sym typeface="Calibri"/>
              </a:defRPr>
            </a:lvl2pPr>
            <a:lvl3pPr marL="1244316" lvl="2" indent="-288036" algn="l">
              <a:lnSpc>
                <a:spcPct val="95000"/>
              </a:lnSpc>
              <a:spcBef>
                <a:spcPts val="239"/>
              </a:spcBef>
              <a:spcAft>
                <a:spcPts val="0"/>
              </a:spcAft>
              <a:buSzPts val="1400"/>
              <a:buChar char="−"/>
              <a:defRPr sz="1270">
                <a:latin typeface="Calibri"/>
                <a:ea typeface="Calibri"/>
                <a:cs typeface="Calibri"/>
                <a:sym typeface="Calibri"/>
              </a:defRPr>
            </a:lvl3pPr>
            <a:lvl4pPr marL="1659087" lvl="3" indent="-279971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260"/>
              <a:buChar char="•"/>
              <a:defRPr sz="1270">
                <a:latin typeface="Calibri"/>
                <a:ea typeface="Calibri"/>
                <a:cs typeface="Calibri"/>
                <a:sym typeface="Calibri"/>
              </a:defRPr>
            </a:lvl4pPr>
            <a:lvl5pPr marL="2073859" lvl="4" indent="-288036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400"/>
              <a:buChar char="−"/>
              <a:defRPr sz="1270">
                <a:latin typeface="Calibri"/>
                <a:ea typeface="Calibri"/>
                <a:cs typeface="Calibri"/>
                <a:sym typeface="Calibri"/>
              </a:defRPr>
            </a:lvl5pPr>
            <a:lvl6pPr marL="2488631" lvl="5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903403" lvl="6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318175" lvl="7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732947" lvl="8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6" name="Google Shape;386;p18"/>
          <p:cNvSpPr txBox="1">
            <a:spLocks noGrp="1"/>
          </p:cNvSpPr>
          <p:nvPr>
            <p:ph type="body" idx="8"/>
          </p:nvPr>
        </p:nvSpPr>
        <p:spPr>
          <a:xfrm>
            <a:off x="7380643" y="1795870"/>
            <a:ext cx="1980034" cy="343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14772" lvl="0" indent="-207386" algn="l">
              <a:lnSpc>
                <a:spcPct val="95000"/>
              </a:lnSpc>
              <a:spcBef>
                <a:spcPts val="796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633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829544" lvl="1" indent="-300709" algn="l">
              <a:lnSpc>
                <a:spcPct val="95000"/>
              </a:lnSpc>
              <a:spcBef>
                <a:spcPts val="398"/>
              </a:spcBef>
              <a:spcAft>
                <a:spcPts val="0"/>
              </a:spcAft>
              <a:buSzPts val="1620"/>
              <a:buChar char="▪"/>
              <a:defRPr/>
            </a:lvl2pPr>
            <a:lvl3pPr marL="1244316" lvl="2" indent="-311079" algn="l">
              <a:lnSpc>
                <a:spcPct val="95000"/>
              </a:lnSpc>
              <a:spcBef>
                <a:spcPts val="239"/>
              </a:spcBef>
              <a:spcAft>
                <a:spcPts val="0"/>
              </a:spcAft>
              <a:buSzPts val="1800"/>
              <a:buChar char="−"/>
              <a:defRPr/>
            </a:lvl3pPr>
            <a:lvl4pPr marL="1659087" lvl="3" indent="-300709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620"/>
              <a:buChar char="•"/>
              <a:defRPr/>
            </a:lvl4pPr>
            <a:lvl5pPr marL="2073859" lvl="4" indent="-311079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800"/>
              <a:buChar char="−"/>
              <a:defRPr/>
            </a:lvl5pPr>
            <a:lvl6pPr marL="2488631" lvl="5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903403" lvl="6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318175" lvl="7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732947" lvl="8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7" name="Google Shape;387;p18"/>
          <p:cNvSpPr txBox="1">
            <a:spLocks noGrp="1"/>
          </p:cNvSpPr>
          <p:nvPr>
            <p:ph type="body" idx="9"/>
          </p:nvPr>
        </p:nvSpPr>
        <p:spPr>
          <a:xfrm>
            <a:off x="9660801" y="2114295"/>
            <a:ext cx="1980034" cy="2903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14772" lvl="0" indent="-207386" algn="l">
              <a:lnSpc>
                <a:spcPct val="95000"/>
              </a:lnSpc>
              <a:spcBef>
                <a:spcPts val="796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270">
                <a:latin typeface="Calibri"/>
                <a:ea typeface="Calibri"/>
                <a:cs typeface="Calibri"/>
                <a:sym typeface="Calibri"/>
              </a:defRPr>
            </a:lvl1pPr>
            <a:lvl2pPr marL="829544" lvl="1" indent="-279971" algn="l">
              <a:lnSpc>
                <a:spcPct val="95000"/>
              </a:lnSpc>
              <a:spcBef>
                <a:spcPts val="398"/>
              </a:spcBef>
              <a:spcAft>
                <a:spcPts val="0"/>
              </a:spcAft>
              <a:buSzPts val="1260"/>
              <a:buChar char="▪"/>
              <a:defRPr sz="1270">
                <a:latin typeface="Calibri"/>
                <a:ea typeface="Calibri"/>
                <a:cs typeface="Calibri"/>
                <a:sym typeface="Calibri"/>
              </a:defRPr>
            </a:lvl2pPr>
            <a:lvl3pPr marL="1244316" lvl="2" indent="-288036" algn="l">
              <a:lnSpc>
                <a:spcPct val="95000"/>
              </a:lnSpc>
              <a:spcBef>
                <a:spcPts val="239"/>
              </a:spcBef>
              <a:spcAft>
                <a:spcPts val="0"/>
              </a:spcAft>
              <a:buSzPts val="1400"/>
              <a:buChar char="−"/>
              <a:defRPr sz="1270">
                <a:latin typeface="Calibri"/>
                <a:ea typeface="Calibri"/>
                <a:cs typeface="Calibri"/>
                <a:sym typeface="Calibri"/>
              </a:defRPr>
            </a:lvl3pPr>
            <a:lvl4pPr marL="1659087" lvl="3" indent="-279971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260"/>
              <a:buChar char="•"/>
              <a:defRPr sz="1270">
                <a:latin typeface="Calibri"/>
                <a:ea typeface="Calibri"/>
                <a:cs typeface="Calibri"/>
                <a:sym typeface="Calibri"/>
              </a:defRPr>
            </a:lvl4pPr>
            <a:lvl5pPr marL="2073859" lvl="4" indent="-288036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400"/>
              <a:buChar char="−"/>
              <a:defRPr sz="1270">
                <a:latin typeface="Calibri"/>
                <a:ea typeface="Calibri"/>
                <a:cs typeface="Calibri"/>
                <a:sym typeface="Calibri"/>
              </a:defRPr>
            </a:lvl5pPr>
            <a:lvl6pPr marL="2488631" lvl="5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903403" lvl="6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318175" lvl="7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732947" lvl="8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" name="Google Shape;388;p18"/>
          <p:cNvSpPr txBox="1">
            <a:spLocks noGrp="1"/>
          </p:cNvSpPr>
          <p:nvPr>
            <p:ph type="body" idx="13"/>
          </p:nvPr>
        </p:nvSpPr>
        <p:spPr>
          <a:xfrm>
            <a:off x="9660801" y="1795870"/>
            <a:ext cx="1980034" cy="343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14772" lvl="0" indent="-207386" algn="l">
              <a:lnSpc>
                <a:spcPct val="95000"/>
              </a:lnSpc>
              <a:spcBef>
                <a:spcPts val="796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633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829544" lvl="1" indent="-300709" algn="l">
              <a:lnSpc>
                <a:spcPct val="95000"/>
              </a:lnSpc>
              <a:spcBef>
                <a:spcPts val="398"/>
              </a:spcBef>
              <a:spcAft>
                <a:spcPts val="0"/>
              </a:spcAft>
              <a:buSzPts val="1620"/>
              <a:buChar char="▪"/>
              <a:defRPr/>
            </a:lvl2pPr>
            <a:lvl3pPr marL="1244316" lvl="2" indent="-311079" algn="l">
              <a:lnSpc>
                <a:spcPct val="95000"/>
              </a:lnSpc>
              <a:spcBef>
                <a:spcPts val="239"/>
              </a:spcBef>
              <a:spcAft>
                <a:spcPts val="0"/>
              </a:spcAft>
              <a:buSzPts val="1800"/>
              <a:buChar char="−"/>
              <a:defRPr/>
            </a:lvl3pPr>
            <a:lvl4pPr marL="1659087" lvl="3" indent="-300709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620"/>
              <a:buChar char="•"/>
              <a:defRPr/>
            </a:lvl4pPr>
            <a:lvl5pPr marL="2073859" lvl="4" indent="-311079" algn="l">
              <a:lnSpc>
                <a:spcPct val="95000"/>
              </a:lnSpc>
              <a:spcBef>
                <a:spcPts val="80"/>
              </a:spcBef>
              <a:spcAft>
                <a:spcPts val="0"/>
              </a:spcAft>
              <a:buSzPts val="1800"/>
              <a:buChar char="−"/>
              <a:defRPr/>
            </a:lvl5pPr>
            <a:lvl6pPr marL="2488631" lvl="5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903403" lvl="6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318175" lvl="7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732947" lvl="8" indent="-311079" algn="l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110545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ustom Layout">
  <p:cSld name="9_Custom Layout">
    <p:spTree>
      <p:nvGrpSpPr>
        <p:cNvPr id="1" name="Shape 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Google Shape;390;p20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411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82939" tIns="41458" rIns="82939" bIns="4145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79"/>
              <a:buFont typeface="Arial"/>
              <a:buNone/>
            </a:pPr>
            <a:endParaRPr sz="1432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" name="Google Shape;391;p20"/>
          <p:cNvSpPr txBox="1">
            <a:spLocks noGrp="1"/>
          </p:cNvSpPr>
          <p:nvPr>
            <p:ph type="title"/>
          </p:nvPr>
        </p:nvSpPr>
        <p:spPr>
          <a:xfrm>
            <a:off x="549236" y="439247"/>
            <a:ext cx="3077171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2" name="Google Shape;392;p20"/>
          <p:cNvSpPr txBox="1">
            <a:spLocks noGrp="1"/>
          </p:cNvSpPr>
          <p:nvPr>
            <p:ph type="ftr" idx="11"/>
          </p:nvPr>
        </p:nvSpPr>
        <p:spPr>
          <a:xfrm>
            <a:off x="4349576" y="6461350"/>
            <a:ext cx="488056" cy="1224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93" name="Google Shape;393;p20"/>
          <p:cNvCxnSpPr/>
          <p:nvPr/>
        </p:nvCxnSpPr>
        <p:spPr>
          <a:xfrm>
            <a:off x="539400" y="348282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1516880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ustom Layout">
  <p:cSld name="4_Custom Layout"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p21"/>
          <p:cNvSpPr/>
          <p:nvPr/>
        </p:nvSpPr>
        <p:spPr>
          <a:xfrm>
            <a:off x="5" y="-1"/>
            <a:ext cx="6098537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411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82939" tIns="41458" rIns="82939" bIns="4145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79"/>
              <a:buFont typeface="Arial"/>
              <a:buNone/>
            </a:pPr>
            <a:endParaRPr sz="1432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6" name="Google Shape;396;p21"/>
          <p:cNvSpPr txBox="1">
            <a:spLocks noGrp="1"/>
          </p:cNvSpPr>
          <p:nvPr>
            <p:ph type="title"/>
          </p:nvPr>
        </p:nvSpPr>
        <p:spPr>
          <a:xfrm>
            <a:off x="549232" y="439247"/>
            <a:ext cx="5385396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7" name="Google Shape;397;p21"/>
          <p:cNvSpPr txBox="1">
            <a:spLocks noGrp="1"/>
          </p:cNvSpPr>
          <p:nvPr>
            <p:ph type="ftr" idx="11"/>
          </p:nvPr>
        </p:nvSpPr>
        <p:spPr>
          <a:xfrm>
            <a:off x="566142" y="6461350"/>
            <a:ext cx="488056" cy="1224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98" name="Google Shape;398;p21"/>
          <p:cNvCxnSpPr/>
          <p:nvPr/>
        </p:nvCxnSpPr>
        <p:spPr>
          <a:xfrm>
            <a:off x="539400" y="348282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0470431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ustom Layout">
  <p:cSld name="3_Custom Layout">
    <p:spTree>
      <p:nvGrpSpPr>
        <p:cNvPr id="1" name="Shape 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" name="Google Shape;400;p22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411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82939" tIns="41458" rIns="82939" bIns="4145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79"/>
              <a:buFont typeface="Arial"/>
              <a:buNone/>
            </a:pPr>
            <a:endParaRPr sz="1432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1" name="Google Shape;401;p22"/>
          <p:cNvSpPr txBox="1">
            <a:spLocks noGrp="1"/>
          </p:cNvSpPr>
          <p:nvPr>
            <p:ph type="title"/>
          </p:nvPr>
        </p:nvSpPr>
        <p:spPr>
          <a:xfrm>
            <a:off x="566141" y="2859412"/>
            <a:ext cx="3032465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2" name="Google Shape;402;p22"/>
          <p:cNvSpPr txBox="1">
            <a:spLocks noGrp="1"/>
          </p:cNvSpPr>
          <p:nvPr>
            <p:ph type="ftr" idx="11"/>
          </p:nvPr>
        </p:nvSpPr>
        <p:spPr>
          <a:xfrm>
            <a:off x="4349576" y="6461350"/>
            <a:ext cx="488056" cy="1224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9371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8_Custom Layout">
  <p:cSld name="8_Custom Layout">
    <p:spTree>
      <p:nvGrpSpPr>
        <p:cNvPr id="1" name="Shape 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" name="Google Shape;404;p23"/>
          <p:cNvSpPr/>
          <p:nvPr/>
        </p:nvSpPr>
        <p:spPr>
          <a:xfrm>
            <a:off x="4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411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82939" tIns="41458" rIns="82939" bIns="414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79"/>
              <a:buFont typeface="Arial"/>
              <a:buNone/>
            </a:pPr>
            <a:endParaRPr sz="1432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5" name="Google Shape;405;p23"/>
          <p:cNvSpPr txBox="1">
            <a:spLocks noGrp="1"/>
          </p:cNvSpPr>
          <p:nvPr>
            <p:ph type="title"/>
          </p:nvPr>
        </p:nvSpPr>
        <p:spPr>
          <a:xfrm>
            <a:off x="550863" y="439247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6" name="Google Shape;406;p23"/>
          <p:cNvSpPr txBox="1">
            <a:spLocks noGrp="1"/>
          </p:cNvSpPr>
          <p:nvPr>
            <p:ph type="ftr" idx="11"/>
          </p:nvPr>
        </p:nvSpPr>
        <p:spPr>
          <a:xfrm>
            <a:off x="550863" y="6461350"/>
            <a:ext cx="488056" cy="1224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7" name="Google Shape;407;p23"/>
          <p:cNvSpPr txBox="1">
            <a:spLocks noGrp="1"/>
          </p:cNvSpPr>
          <p:nvPr>
            <p:ph type="sldNum" idx="12"/>
          </p:nvPr>
        </p:nvSpPr>
        <p:spPr>
          <a:xfrm>
            <a:off x="11489118" y="6493892"/>
            <a:ext cx="151718" cy="110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408" name="Google Shape;408;p23"/>
          <p:cNvCxnSpPr/>
          <p:nvPr/>
        </p:nvCxnSpPr>
        <p:spPr>
          <a:xfrm>
            <a:off x="539400" y="348282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09" name="Google Shape;409;p23"/>
          <p:cNvGrpSpPr/>
          <p:nvPr/>
        </p:nvGrpSpPr>
        <p:grpSpPr>
          <a:xfrm>
            <a:off x="12005994" y="4935563"/>
            <a:ext cx="88229" cy="1647813"/>
            <a:chOff x="10528644" y="5463404"/>
            <a:chExt cx="77372" cy="1816409"/>
          </a:xfrm>
        </p:grpSpPr>
        <p:grpSp>
          <p:nvGrpSpPr>
            <p:cNvPr id="410" name="Google Shape;410;p23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411" name="Google Shape;411;p23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2" name="Google Shape;412;p23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3" name="Google Shape;413;p23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4" name="Google Shape;414;p23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5" name="Google Shape;415;p23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6" name="Google Shape;416;p23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7" name="Google Shape;417;p23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8" name="Google Shape;418;p23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9" name="Google Shape;419;p23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0" name="Google Shape;420;p23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1" name="Google Shape;421;p23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2" name="Google Shape;422;p23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3" name="Google Shape;423;p23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24" name="Google Shape;424;p23"/>
            <p:cNvSpPr txBox="1"/>
            <p:nvPr/>
          </p:nvSpPr>
          <p:spPr>
            <a:xfrm rot="16200000">
              <a:off x="9874832" y="6117216"/>
              <a:ext cx="1384995" cy="773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2"/>
                <a:buFont typeface="Arial"/>
                <a:buNone/>
              </a:pPr>
              <a:r>
                <a:rPr lang="en-IN" sz="637" b="0" i="0" u="none" strike="noStrike" cap="none">
                  <a:solidFill>
                    <a:schemeClr val="lt2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. All rights reserved.</a:t>
              </a:r>
              <a:endParaRPr sz="127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33130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ustom Layout">
  <p:cSld name="Custom Layout"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" name="Google Shape;426;p24"/>
          <p:cNvSpPr/>
          <p:nvPr/>
        </p:nvSpPr>
        <p:spPr>
          <a:xfrm>
            <a:off x="4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411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82939" tIns="41458" rIns="82939" bIns="414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79"/>
              <a:buFont typeface="Arial"/>
              <a:buNone/>
            </a:pPr>
            <a:endParaRPr sz="1432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7" name="Google Shape;427;p24"/>
          <p:cNvSpPr txBox="1">
            <a:spLocks noGrp="1"/>
          </p:cNvSpPr>
          <p:nvPr>
            <p:ph type="ftr" idx="11"/>
          </p:nvPr>
        </p:nvSpPr>
        <p:spPr>
          <a:xfrm>
            <a:off x="550863" y="6461350"/>
            <a:ext cx="488056" cy="1224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8" name="Google Shape;428;p24"/>
          <p:cNvSpPr txBox="1">
            <a:spLocks noGrp="1"/>
          </p:cNvSpPr>
          <p:nvPr>
            <p:ph type="sldNum" idx="12"/>
          </p:nvPr>
        </p:nvSpPr>
        <p:spPr>
          <a:xfrm>
            <a:off x="11489118" y="6493892"/>
            <a:ext cx="151718" cy="110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grpSp>
        <p:nvGrpSpPr>
          <p:cNvPr id="429" name="Google Shape;429;p24"/>
          <p:cNvGrpSpPr/>
          <p:nvPr/>
        </p:nvGrpSpPr>
        <p:grpSpPr>
          <a:xfrm>
            <a:off x="12005994" y="4935563"/>
            <a:ext cx="88229" cy="1647813"/>
            <a:chOff x="10528644" y="5463404"/>
            <a:chExt cx="77372" cy="1816409"/>
          </a:xfrm>
        </p:grpSpPr>
        <p:grpSp>
          <p:nvGrpSpPr>
            <p:cNvPr id="430" name="Google Shape;430;p24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431" name="Google Shape;431;p24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24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24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24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24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24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24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24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24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24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24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24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24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44" name="Google Shape;444;p24"/>
            <p:cNvSpPr txBox="1"/>
            <p:nvPr/>
          </p:nvSpPr>
          <p:spPr>
            <a:xfrm rot="16200000">
              <a:off x="9874832" y="6117216"/>
              <a:ext cx="1384995" cy="773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2"/>
                <a:buFont typeface="Arial"/>
                <a:buNone/>
              </a:pPr>
              <a:r>
                <a:rPr lang="en-IN" sz="637" b="0" i="0" u="none" strike="noStrike" cap="none">
                  <a:solidFill>
                    <a:schemeClr val="lt2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. All rights reserved.</a:t>
              </a:r>
              <a:endParaRPr sz="127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07358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Plain White">
  <p:cSld name="1_Plain White">
    <p:bg>
      <p:bgPr>
        <a:solidFill>
          <a:schemeClr val="lt2"/>
        </a:solidFill>
        <a:effectLst/>
      </p:bgPr>
    </p:bg>
    <p:spTree>
      <p:nvGrpSpPr>
        <p:cNvPr id="1" name="Shape 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6" name="Google Shape;446;p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47" name="Google Shape;447;p27"/>
          <p:cNvSpPr/>
          <p:nvPr/>
        </p:nvSpPr>
        <p:spPr>
          <a:xfrm>
            <a:off x="5" y="0"/>
            <a:ext cx="2682587" cy="6858000"/>
          </a:xfrm>
          <a:prstGeom prst="rect">
            <a:avLst/>
          </a:prstGeom>
          <a:solidFill>
            <a:schemeClr val="lt2">
              <a:alpha val="69411"/>
            </a:schemeClr>
          </a:solidFill>
          <a:ln>
            <a:noFill/>
          </a:ln>
        </p:spPr>
        <p:txBody>
          <a:bodyPr spcFirstLastPara="1" wrap="square" lIns="82939" tIns="41458" rIns="82939" bIns="4145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79"/>
              <a:buFont typeface="Arial"/>
              <a:buNone/>
            </a:pPr>
            <a:endParaRPr sz="1432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8" name="Google Shape;448;p27"/>
          <p:cNvSpPr/>
          <p:nvPr/>
        </p:nvSpPr>
        <p:spPr>
          <a:xfrm>
            <a:off x="3" y="3942694"/>
            <a:ext cx="10795019" cy="1930133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411"/>
                </a:srgbClr>
              </a:gs>
              <a:gs pos="100000">
                <a:srgbClr val="43E1D3">
                  <a:alpha val="89411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82939" tIns="41458" rIns="82939" bIns="4145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79"/>
              <a:buFont typeface="Arial"/>
              <a:buNone/>
            </a:pPr>
            <a:endParaRPr sz="1432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9" name="Google Shape;449;p27"/>
          <p:cNvSpPr txBox="1">
            <a:spLocks noGrp="1"/>
          </p:cNvSpPr>
          <p:nvPr>
            <p:ph type="sldNum" idx="12"/>
          </p:nvPr>
        </p:nvSpPr>
        <p:spPr>
          <a:xfrm>
            <a:off x="11507698" y="6473637"/>
            <a:ext cx="133438" cy="110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89"/>
              <a:buNone/>
              <a:defRPr sz="71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89"/>
              <a:buNone/>
              <a:defRPr sz="71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89"/>
              <a:buNone/>
              <a:defRPr sz="71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89"/>
              <a:buNone/>
              <a:defRPr sz="71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89"/>
              <a:buNone/>
              <a:defRPr sz="71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89"/>
              <a:buNone/>
              <a:defRPr sz="71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89"/>
              <a:buNone/>
              <a:defRPr sz="71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89"/>
              <a:buNone/>
              <a:defRPr sz="71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89"/>
              <a:buNone/>
              <a:defRPr sz="71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450" name="Google Shape;450;p27"/>
          <p:cNvSpPr txBox="1"/>
          <p:nvPr/>
        </p:nvSpPr>
        <p:spPr>
          <a:xfrm rot="-5400000">
            <a:off x="11352959" y="5690021"/>
            <a:ext cx="1401864" cy="77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14"/>
              <a:buFont typeface="Arial"/>
              <a:buNone/>
            </a:pPr>
            <a:r>
              <a:rPr lang="en-IN" sz="557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Infomineo Copyright © 2022. All rights reserved.</a:t>
            </a:r>
            <a:endParaRPr sz="127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1" name="Google Shape;451;p27"/>
          <p:cNvSpPr txBox="1"/>
          <p:nvPr/>
        </p:nvSpPr>
        <p:spPr>
          <a:xfrm>
            <a:off x="11507697" y="6473638"/>
            <a:ext cx="133439" cy="110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89"/>
              <a:buFont typeface="Arial"/>
              <a:buNone/>
            </a:pPr>
            <a:fld id="{00000000-1234-1234-1234-123412341234}" type="slidenum">
              <a:rPr lang="en-IN" sz="71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89"/>
                <a:buFont typeface="Arial"/>
                <a:buNone/>
              </a:pPr>
              <a:t>‹#›</a:t>
            </a:fld>
            <a:endParaRPr sz="716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2" name="Google Shape;452;p27"/>
          <p:cNvSpPr txBox="1">
            <a:spLocks noGrp="1"/>
          </p:cNvSpPr>
          <p:nvPr>
            <p:ph type="title"/>
          </p:nvPr>
        </p:nvSpPr>
        <p:spPr>
          <a:xfrm>
            <a:off x="737596" y="4617782"/>
            <a:ext cx="8494899" cy="5509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85"/>
              <a:buFont typeface="Franklin Gothic"/>
              <a:buNone/>
              <a:defRPr sz="3978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68133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" name="Google Shape;454;p28"/>
          <p:cNvSpPr/>
          <p:nvPr/>
        </p:nvSpPr>
        <p:spPr>
          <a:xfrm>
            <a:off x="0" y="0"/>
            <a:ext cx="12193200" cy="6858000"/>
          </a:xfrm>
          <a:custGeom>
            <a:avLst/>
            <a:gdLst/>
            <a:ahLst/>
            <a:cxnLst/>
            <a:rect l="l" t="t" r="r" b="b"/>
            <a:pathLst>
              <a:path w="10692865" h="7559675" extrusionOk="0">
                <a:moveTo>
                  <a:pt x="482600" y="483079"/>
                </a:moveTo>
                <a:lnTo>
                  <a:pt x="482600" y="7088267"/>
                </a:lnTo>
                <a:lnTo>
                  <a:pt x="10207986" y="7088267"/>
                </a:lnTo>
                <a:lnTo>
                  <a:pt x="10207986" y="6954202"/>
                </a:lnTo>
                <a:lnTo>
                  <a:pt x="10208732" y="6954202"/>
                </a:lnTo>
                <a:lnTo>
                  <a:pt x="10208732" y="605475"/>
                </a:lnTo>
                <a:lnTo>
                  <a:pt x="10207986" y="605475"/>
                </a:lnTo>
                <a:lnTo>
                  <a:pt x="10207986" y="483079"/>
                </a:lnTo>
                <a:close/>
                <a:moveTo>
                  <a:pt x="0" y="0"/>
                </a:moveTo>
                <a:lnTo>
                  <a:pt x="10692865" y="0"/>
                </a:lnTo>
                <a:lnTo>
                  <a:pt x="10692865" y="686522"/>
                </a:lnTo>
                <a:lnTo>
                  <a:pt x="10691813" y="686522"/>
                </a:lnTo>
                <a:lnTo>
                  <a:pt x="10691813" y="6790918"/>
                </a:lnTo>
                <a:lnTo>
                  <a:pt x="10692865" y="6790918"/>
                </a:lnTo>
                <a:lnTo>
                  <a:pt x="10692865" y="7559675"/>
                </a:lnTo>
                <a:lnTo>
                  <a:pt x="10691813" y="7559675"/>
                </a:lnTo>
                <a:lnTo>
                  <a:pt x="10139332" y="7559675"/>
                </a:lnTo>
                <a:lnTo>
                  <a:pt x="552482" y="7559675"/>
                </a:lnTo>
                <a:lnTo>
                  <a:pt x="1" y="7559675"/>
                </a:lnTo>
                <a:lnTo>
                  <a:pt x="1" y="6790918"/>
                </a:lnTo>
                <a:lnTo>
                  <a:pt x="1" y="686522"/>
                </a:lnTo>
                <a:lnTo>
                  <a:pt x="0" y="686522"/>
                </a:lnTo>
                <a:close/>
              </a:path>
            </a:pathLst>
          </a:custGeom>
          <a:solidFill>
            <a:srgbClr val="FF0000">
              <a:alpha val="4313"/>
            </a:srgbClr>
          </a:solidFill>
          <a:ln>
            <a:noFill/>
          </a:ln>
        </p:spPr>
        <p:txBody>
          <a:bodyPr spcFirstLastPara="1" wrap="square" lIns="72733" tIns="36355" rIns="72733" bIns="3635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79"/>
              <a:buFont typeface="Arial"/>
              <a:buNone/>
            </a:pPr>
            <a:endParaRPr sz="1432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55" name="Google Shape;455;p28"/>
          <p:cNvGrpSpPr/>
          <p:nvPr/>
        </p:nvGrpSpPr>
        <p:grpSpPr>
          <a:xfrm>
            <a:off x="-596" y="438242"/>
            <a:ext cx="12193200" cy="5981517"/>
            <a:chOff x="-523" y="483080"/>
            <a:chExt cx="10692865" cy="6593515"/>
          </a:xfrm>
        </p:grpSpPr>
        <p:cxnSp>
          <p:nvCxnSpPr>
            <p:cNvPr id="456" name="Google Shape;456;p28"/>
            <p:cNvCxnSpPr/>
            <p:nvPr/>
          </p:nvCxnSpPr>
          <p:spPr>
            <a:xfrm>
              <a:off x="-523" y="48308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rgbClr val="C00000">
                  <a:alpha val="49411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57" name="Google Shape;457;p28"/>
            <p:cNvCxnSpPr/>
            <p:nvPr/>
          </p:nvCxnSpPr>
          <p:spPr>
            <a:xfrm>
              <a:off x="-523" y="108249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58" name="Google Shape;458;p28"/>
            <p:cNvCxnSpPr/>
            <p:nvPr/>
          </p:nvCxnSpPr>
          <p:spPr>
            <a:xfrm>
              <a:off x="-523" y="138219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rgbClr val="C00000">
                  <a:alpha val="49411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59" name="Google Shape;459;p28"/>
            <p:cNvCxnSpPr/>
            <p:nvPr/>
          </p:nvCxnSpPr>
          <p:spPr>
            <a:xfrm>
              <a:off x="-523" y="168190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60" name="Google Shape;460;p28"/>
            <p:cNvCxnSpPr/>
            <p:nvPr/>
          </p:nvCxnSpPr>
          <p:spPr>
            <a:xfrm>
              <a:off x="-523" y="198160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rgbClr val="C00000">
                  <a:alpha val="49411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61" name="Google Shape;461;p28"/>
            <p:cNvCxnSpPr/>
            <p:nvPr/>
          </p:nvCxnSpPr>
          <p:spPr>
            <a:xfrm>
              <a:off x="-523" y="228131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62" name="Google Shape;462;p28"/>
            <p:cNvCxnSpPr/>
            <p:nvPr/>
          </p:nvCxnSpPr>
          <p:spPr>
            <a:xfrm>
              <a:off x="-523" y="258101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63" name="Google Shape;463;p28"/>
            <p:cNvCxnSpPr/>
            <p:nvPr/>
          </p:nvCxnSpPr>
          <p:spPr>
            <a:xfrm>
              <a:off x="-523" y="288072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64" name="Google Shape;464;p28"/>
            <p:cNvCxnSpPr/>
            <p:nvPr/>
          </p:nvCxnSpPr>
          <p:spPr>
            <a:xfrm>
              <a:off x="-523" y="318042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65" name="Google Shape;465;p28"/>
            <p:cNvCxnSpPr/>
            <p:nvPr/>
          </p:nvCxnSpPr>
          <p:spPr>
            <a:xfrm>
              <a:off x="-523" y="348013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66" name="Google Shape;466;p28"/>
            <p:cNvCxnSpPr/>
            <p:nvPr/>
          </p:nvCxnSpPr>
          <p:spPr>
            <a:xfrm>
              <a:off x="-523" y="377983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67" name="Google Shape;467;p28"/>
            <p:cNvCxnSpPr/>
            <p:nvPr/>
          </p:nvCxnSpPr>
          <p:spPr>
            <a:xfrm>
              <a:off x="-523" y="407954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68" name="Google Shape;468;p28"/>
            <p:cNvCxnSpPr/>
            <p:nvPr/>
          </p:nvCxnSpPr>
          <p:spPr>
            <a:xfrm>
              <a:off x="-523" y="437924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69" name="Google Shape;469;p28"/>
            <p:cNvCxnSpPr/>
            <p:nvPr/>
          </p:nvCxnSpPr>
          <p:spPr>
            <a:xfrm>
              <a:off x="-523" y="467895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70" name="Google Shape;470;p28"/>
            <p:cNvCxnSpPr/>
            <p:nvPr/>
          </p:nvCxnSpPr>
          <p:spPr>
            <a:xfrm>
              <a:off x="-523" y="497865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71" name="Google Shape;471;p28"/>
            <p:cNvCxnSpPr/>
            <p:nvPr/>
          </p:nvCxnSpPr>
          <p:spPr>
            <a:xfrm>
              <a:off x="-523" y="527836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72" name="Google Shape;472;p28"/>
            <p:cNvCxnSpPr/>
            <p:nvPr/>
          </p:nvCxnSpPr>
          <p:spPr>
            <a:xfrm>
              <a:off x="-523" y="557806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73" name="Google Shape;473;p28"/>
            <p:cNvCxnSpPr/>
            <p:nvPr/>
          </p:nvCxnSpPr>
          <p:spPr>
            <a:xfrm>
              <a:off x="-523" y="587777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74" name="Google Shape;474;p28"/>
            <p:cNvCxnSpPr/>
            <p:nvPr/>
          </p:nvCxnSpPr>
          <p:spPr>
            <a:xfrm>
              <a:off x="-523" y="617747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75" name="Google Shape;475;p28"/>
            <p:cNvCxnSpPr/>
            <p:nvPr/>
          </p:nvCxnSpPr>
          <p:spPr>
            <a:xfrm>
              <a:off x="-523" y="6477180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76" name="Google Shape;476;p28"/>
            <p:cNvCxnSpPr/>
            <p:nvPr/>
          </p:nvCxnSpPr>
          <p:spPr>
            <a:xfrm>
              <a:off x="-523" y="78278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77" name="Google Shape;477;p28"/>
            <p:cNvCxnSpPr/>
            <p:nvPr/>
          </p:nvCxnSpPr>
          <p:spPr>
            <a:xfrm>
              <a:off x="-523" y="707659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rgbClr val="C00000">
                  <a:alpha val="49411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78" name="Google Shape;478;p28"/>
            <p:cNvCxnSpPr/>
            <p:nvPr/>
          </p:nvCxnSpPr>
          <p:spPr>
            <a:xfrm>
              <a:off x="-523" y="6776885"/>
              <a:ext cx="10692865" cy="0"/>
            </a:xfrm>
            <a:prstGeom prst="straightConnector1">
              <a:avLst/>
            </a:prstGeom>
            <a:noFill/>
            <a:ln w="9525" cap="flat" cmpd="sng">
              <a:solidFill>
                <a:srgbClr val="C0000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479" name="Google Shape;479;p28"/>
          <p:cNvSpPr/>
          <p:nvPr/>
        </p:nvSpPr>
        <p:spPr>
          <a:xfrm>
            <a:off x="550263" y="6430356"/>
            <a:ext cx="11090873" cy="261799"/>
          </a:xfrm>
          <a:prstGeom prst="rect">
            <a:avLst/>
          </a:prstGeom>
          <a:solidFill>
            <a:srgbClr val="FF0000">
              <a:alpha val="9411"/>
            </a:srgbClr>
          </a:solidFill>
          <a:ln>
            <a:noFill/>
          </a:ln>
        </p:spPr>
        <p:txBody>
          <a:bodyPr spcFirstLastPara="1" wrap="square" lIns="72733" tIns="36355" rIns="72733" bIns="3635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79"/>
              <a:buFont typeface="Arial"/>
              <a:buNone/>
            </a:pPr>
            <a:endParaRPr sz="1432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0" name="Google Shape;480;p28"/>
          <p:cNvSpPr/>
          <p:nvPr/>
        </p:nvSpPr>
        <p:spPr>
          <a:xfrm>
            <a:off x="550864" y="1262641"/>
            <a:ext cx="11105555" cy="544313"/>
          </a:xfrm>
          <a:prstGeom prst="rect">
            <a:avLst/>
          </a:prstGeom>
          <a:solidFill>
            <a:srgbClr val="FF0000">
              <a:alpha val="4313"/>
            </a:srgbClr>
          </a:solidFill>
          <a:ln>
            <a:noFill/>
          </a:ln>
        </p:spPr>
        <p:txBody>
          <a:bodyPr spcFirstLastPara="1" wrap="square" lIns="72733" tIns="36355" rIns="72733" bIns="3635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79"/>
              <a:buFont typeface="Arial"/>
              <a:buNone/>
            </a:pPr>
            <a:endParaRPr sz="1432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81" name="Google Shape;481;p28"/>
          <p:cNvGrpSpPr/>
          <p:nvPr/>
        </p:nvGrpSpPr>
        <p:grpSpPr>
          <a:xfrm>
            <a:off x="1215339" y="1806954"/>
            <a:ext cx="9763000" cy="4623402"/>
            <a:chOff x="1215339" y="549274"/>
            <a:chExt cx="9763000" cy="5759450"/>
          </a:xfrm>
        </p:grpSpPr>
        <p:sp>
          <p:nvSpPr>
            <p:cNvPr id="482" name="Google Shape;482;p28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79"/>
                <a:buFont typeface="Arial"/>
                <a:buNone/>
              </a:pPr>
              <a:endParaRPr sz="14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28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79"/>
                <a:buFont typeface="Arial"/>
                <a:buNone/>
              </a:pPr>
              <a:endParaRPr sz="14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28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79"/>
                <a:buFont typeface="Arial"/>
                <a:buNone/>
              </a:pPr>
              <a:endParaRPr sz="14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28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79"/>
                <a:buFont typeface="Arial"/>
                <a:buNone/>
              </a:pPr>
              <a:endParaRPr sz="14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28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79"/>
                <a:buFont typeface="Arial"/>
                <a:buNone/>
              </a:pPr>
              <a:endParaRPr sz="14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28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79"/>
                <a:buFont typeface="Arial"/>
                <a:buNone/>
              </a:pPr>
              <a:endParaRPr sz="14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28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79"/>
                <a:buFont typeface="Arial"/>
                <a:buNone/>
              </a:pPr>
              <a:endParaRPr sz="14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28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79"/>
                <a:buFont typeface="Arial"/>
                <a:buNone/>
              </a:pPr>
              <a:endParaRPr sz="14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28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79"/>
                <a:buFont typeface="Arial"/>
                <a:buNone/>
              </a:pPr>
              <a:endParaRPr sz="14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28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79"/>
                <a:buFont typeface="Arial"/>
                <a:buNone/>
              </a:pPr>
              <a:endParaRPr sz="14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28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79"/>
                <a:buFont typeface="Arial"/>
                <a:buNone/>
              </a:pPr>
              <a:endParaRPr sz="14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93" name="Google Shape;493;p28"/>
          <p:cNvSpPr txBox="1"/>
          <p:nvPr/>
        </p:nvSpPr>
        <p:spPr>
          <a:xfrm>
            <a:off x="550862" y="6466264"/>
            <a:ext cx="9030916" cy="2204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77"/>
              <a:buFont typeface="Calibri"/>
              <a:buNone/>
            </a:pPr>
            <a:r>
              <a:rPr lang="en-IN"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 sz="127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77"/>
              <a:buFont typeface="Calibri"/>
              <a:buNone/>
            </a:pPr>
            <a:r>
              <a:rPr lang="en-IN"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 sz="127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4" name="Google Shape;494;p28"/>
          <p:cNvSpPr txBox="1">
            <a:spLocks noGrp="1"/>
          </p:cNvSpPr>
          <p:nvPr>
            <p:ph type="sldNum" idx="12"/>
          </p:nvPr>
        </p:nvSpPr>
        <p:spPr>
          <a:xfrm>
            <a:off x="11489118" y="6576486"/>
            <a:ext cx="151718" cy="110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77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495" name="Google Shape;495;p28"/>
          <p:cNvSpPr txBox="1">
            <a:spLocks noGrp="1"/>
          </p:cNvSpPr>
          <p:nvPr>
            <p:ph type="title"/>
          </p:nvPr>
        </p:nvSpPr>
        <p:spPr>
          <a:xfrm>
            <a:off x="550315" y="453426"/>
            <a:ext cx="11090520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96" name="Google Shape;496;p28"/>
          <p:cNvGrpSpPr/>
          <p:nvPr/>
        </p:nvGrpSpPr>
        <p:grpSpPr>
          <a:xfrm>
            <a:off x="550868" y="6254177"/>
            <a:ext cx="11089971" cy="55199"/>
            <a:chOff x="550864" y="6156603"/>
            <a:chExt cx="11089971" cy="55199"/>
          </a:xfrm>
        </p:grpSpPr>
        <p:sp>
          <p:nvSpPr>
            <p:cNvPr id="497" name="Google Shape;497;p28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79"/>
                <a:buFont typeface="Arial"/>
                <a:buNone/>
              </a:pPr>
              <a:endParaRPr sz="14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28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79"/>
                <a:buFont typeface="Arial"/>
                <a:buNone/>
              </a:pPr>
              <a:endParaRPr sz="14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28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79"/>
                <a:buFont typeface="Arial"/>
                <a:buNone/>
              </a:pPr>
              <a:endParaRPr sz="14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0" name="Google Shape;500;p28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79"/>
                <a:buFont typeface="Arial"/>
                <a:buNone/>
              </a:pPr>
              <a:endParaRPr sz="14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1" name="Google Shape;501;p28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79"/>
                <a:buFont typeface="Arial"/>
                <a:buNone/>
              </a:pPr>
              <a:endParaRPr sz="143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502" name="Google Shape;502;p28"/>
          <p:cNvCxnSpPr/>
          <p:nvPr/>
        </p:nvCxnSpPr>
        <p:spPr>
          <a:xfrm>
            <a:off x="539400" y="37756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03" name="Google Shape;503;p28"/>
          <p:cNvGrpSpPr/>
          <p:nvPr/>
        </p:nvGrpSpPr>
        <p:grpSpPr>
          <a:xfrm>
            <a:off x="12005994" y="5011602"/>
            <a:ext cx="88229" cy="1647816"/>
            <a:chOff x="10528644" y="5463403"/>
            <a:chExt cx="77372" cy="1816410"/>
          </a:xfrm>
        </p:grpSpPr>
        <p:grpSp>
          <p:nvGrpSpPr>
            <p:cNvPr id="504" name="Google Shape;504;p28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505" name="Google Shape;505;p28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28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28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28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28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28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28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28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28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4" name="Google Shape;514;p28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5" name="Google Shape;515;p28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6" name="Google Shape;516;p28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7" name="Google Shape;517;p28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18" name="Google Shape;518;p28"/>
            <p:cNvSpPr txBox="1"/>
            <p:nvPr/>
          </p:nvSpPr>
          <p:spPr>
            <a:xfrm rot="16200000">
              <a:off x="9874832" y="6117215"/>
              <a:ext cx="1384995" cy="773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2"/>
                <a:buFont typeface="Arial"/>
                <a:buNone/>
              </a:pPr>
              <a:r>
                <a:rPr lang="en-IN" sz="637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. All rights reserved.</a:t>
              </a:r>
              <a:endParaRPr sz="127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19" name="Google Shape;519;p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rot="-5400000">
              <a:off x="10361309" y="7048329"/>
              <a:ext cx="400614" cy="62353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7795497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Custom Layout">
  <p:cSld name="5_Custom Layout"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E878EE-ECA4-4193-5FF4-57AECB58F4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264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5" name="Google Shape;175;p8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fr-FR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6" name="Google Shape;176;p86"/>
          <p:cNvSpPr txBox="1"/>
          <p:nvPr/>
        </p:nvSpPr>
        <p:spPr>
          <a:xfrm>
            <a:off x="550863" y="5965461"/>
            <a:ext cx="3028906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b="0" i="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ww.infomineo.com</a:t>
            </a:r>
            <a:endParaRPr lang="fr-FR"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b="0" i="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nfomineo Copyright © 202</a:t>
            </a:r>
            <a:r>
              <a:rPr lang="fr-FR" sz="12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r>
              <a:rPr lang="fr-FR" sz="1200" b="0" i="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. All </a:t>
            </a:r>
            <a:r>
              <a:rPr lang="fr-FR" sz="1200" b="0" i="0" dirty="0" err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ights</a:t>
            </a:r>
            <a:r>
              <a:rPr lang="fr-FR" sz="1200" b="0" i="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sz="1200" b="0" i="0" dirty="0" err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served</a:t>
            </a:r>
            <a:r>
              <a:rPr lang="fr-FR" sz="1200" b="0" i="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endParaRPr lang="fr-FR" dirty="0"/>
          </a:p>
        </p:txBody>
      </p:sp>
      <p:pic>
        <p:nvPicPr>
          <p:cNvPr id="177" name="Google Shape;177;p86">
            <a:hlinkClick r:id="rId5"/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365045" y="6011003"/>
            <a:ext cx="317270" cy="3172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8" name="Google Shape;178;p86">
            <a:hlinkClick r:id="rId7"/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1339597" y="6018867"/>
            <a:ext cx="301541" cy="30154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9" name="Google Shape;179;p86">
            <a:hlinkClick r:id="rId9"/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10851769" y="6010451"/>
            <a:ext cx="318374" cy="318374"/>
          </a:xfrm>
          <a:prstGeom prst="rect">
            <a:avLst/>
          </a:prstGeom>
          <a:noFill/>
          <a:ln>
            <a:noFill/>
          </a:ln>
        </p:spPr>
      </p:pic>
      <p:pic>
        <p:nvPicPr>
          <p:cNvPr id="180" name="Google Shape;180;p86"/>
          <p:cNvPicPr preferRelativeResize="0"/>
          <p:nvPr/>
        </p:nvPicPr>
        <p:blipFill rotWithShape="1">
          <a:blip r:embed="rId11">
            <a:alphaModFix/>
          </a:blip>
          <a:srcRect l="738" r="729"/>
          <a:stretch/>
        </p:blipFill>
        <p:spPr>
          <a:xfrm>
            <a:off x="4256669" y="3006053"/>
            <a:ext cx="3678664" cy="84589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2)">
  <p:cSld name="Title Slide (Option 2)"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43E54EF-FF36-D8C1-8579-4B55EFE076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5541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2" name="Google Shape;182;p87" descr="A large body of water with a city in the background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 l="2214" t="3933" r="2214" b="3933"/>
          <a:stretch/>
        </p:blipFill>
        <p:spPr>
          <a:xfrm>
            <a:off x="269998" y="270000"/>
            <a:ext cx="11652001" cy="631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3" name="Google Shape;183;p87"/>
          <p:cNvSpPr/>
          <p:nvPr/>
        </p:nvSpPr>
        <p:spPr>
          <a:xfrm>
            <a:off x="536448" y="540000"/>
            <a:ext cx="6363891" cy="6318000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9803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9803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fr-FR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4" name="Google Shape;184;p87"/>
          <p:cNvSpPr txBox="1">
            <a:spLocks noGrp="1"/>
          </p:cNvSpPr>
          <p:nvPr>
            <p:ph type="ctrTitle"/>
          </p:nvPr>
        </p:nvSpPr>
        <p:spPr>
          <a:xfrm>
            <a:off x="902896" y="3605295"/>
            <a:ext cx="5337943" cy="692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185" name="Google Shape;185;p87"/>
          <p:cNvSpPr txBox="1">
            <a:spLocks noGrp="1"/>
          </p:cNvSpPr>
          <p:nvPr>
            <p:ph type="subTitle" idx="1"/>
          </p:nvPr>
        </p:nvSpPr>
        <p:spPr>
          <a:xfrm>
            <a:off x="902896" y="4348579"/>
            <a:ext cx="5337943" cy="420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186" name="Google Shape;186;p87"/>
          <p:cNvSpPr txBox="1">
            <a:spLocks noGrp="1"/>
          </p:cNvSpPr>
          <p:nvPr>
            <p:ph type="dt" idx="10"/>
          </p:nvPr>
        </p:nvSpPr>
        <p:spPr>
          <a:xfrm>
            <a:off x="902896" y="5923689"/>
            <a:ext cx="1582738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fr-FR" dirty="0"/>
          </a:p>
        </p:txBody>
      </p:sp>
      <p:pic>
        <p:nvPicPr>
          <p:cNvPr id="187" name="Google Shape;187;p87"/>
          <p:cNvPicPr preferRelativeResize="0"/>
          <p:nvPr/>
        </p:nvPicPr>
        <p:blipFill rotWithShape="1">
          <a:blip r:embed="rId6">
            <a:alphaModFix/>
          </a:blip>
          <a:srcRect l="738" r="729"/>
          <a:stretch/>
        </p:blipFill>
        <p:spPr>
          <a:xfrm>
            <a:off x="902896" y="901732"/>
            <a:ext cx="2497454" cy="57428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3)">
  <p:cSld name="Title Slide (Option 3)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8B417C-2F43-5F92-FAC2-F3B47365F8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6885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9" name="Google Shape;189;p88" descr="A large body of water with a city in the background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 l="4517" t="8005" r="4516" b="8006"/>
          <a:stretch/>
        </p:blipFill>
        <p:spPr>
          <a:xfrm>
            <a:off x="550861" y="549274"/>
            <a:ext cx="11090276" cy="5759451"/>
          </a:xfrm>
          <a:prstGeom prst="rect">
            <a:avLst/>
          </a:prstGeom>
          <a:noFill/>
          <a:ln>
            <a:noFill/>
          </a:ln>
        </p:spPr>
      </p:pic>
      <p:sp>
        <p:nvSpPr>
          <p:cNvPr id="190" name="Google Shape;190;p88"/>
          <p:cNvSpPr/>
          <p:nvPr/>
        </p:nvSpPr>
        <p:spPr>
          <a:xfrm>
            <a:off x="1083553" y="1080000"/>
            <a:ext cx="5816186" cy="5778000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9803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9803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fr-FR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1" name="Google Shape;191;p88"/>
          <p:cNvPicPr preferRelativeResize="0"/>
          <p:nvPr/>
        </p:nvPicPr>
        <p:blipFill rotWithShape="1">
          <a:blip r:embed="rId6">
            <a:alphaModFix/>
          </a:blip>
          <a:srcRect l="738" r="729"/>
          <a:stretch/>
        </p:blipFill>
        <p:spPr>
          <a:xfrm>
            <a:off x="1631950" y="1603956"/>
            <a:ext cx="2497454" cy="574280"/>
          </a:xfrm>
          <a:prstGeom prst="rect">
            <a:avLst/>
          </a:prstGeom>
          <a:noFill/>
          <a:ln>
            <a:noFill/>
          </a:ln>
        </p:spPr>
      </p:pic>
      <p:sp>
        <p:nvSpPr>
          <p:cNvPr id="192" name="Google Shape;192;p88"/>
          <p:cNvSpPr txBox="1">
            <a:spLocks noGrp="1"/>
          </p:cNvSpPr>
          <p:nvPr>
            <p:ph type="dt" idx="10"/>
          </p:nvPr>
        </p:nvSpPr>
        <p:spPr>
          <a:xfrm>
            <a:off x="1631950" y="5923689"/>
            <a:ext cx="1582738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fr-FR" dirty="0"/>
          </a:p>
        </p:txBody>
      </p:sp>
      <p:sp>
        <p:nvSpPr>
          <p:cNvPr id="193" name="Google Shape;193;p88"/>
          <p:cNvSpPr txBox="1">
            <a:spLocks noGrp="1"/>
          </p:cNvSpPr>
          <p:nvPr>
            <p:ph type="ctrTitle"/>
          </p:nvPr>
        </p:nvSpPr>
        <p:spPr>
          <a:xfrm>
            <a:off x="1631951" y="4149548"/>
            <a:ext cx="4799330" cy="692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194" name="Google Shape;194;p88"/>
          <p:cNvSpPr txBox="1">
            <a:spLocks noGrp="1"/>
          </p:cNvSpPr>
          <p:nvPr>
            <p:ph type="subTitle" idx="1"/>
          </p:nvPr>
        </p:nvSpPr>
        <p:spPr>
          <a:xfrm>
            <a:off x="1631951" y="4892832"/>
            <a:ext cx="4799330" cy="420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4)">
  <p:cSld name="Title Slide (Option 4)"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6A01D24-BE19-9E08-DD34-9C62DDA9AA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223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6" name="Google Shape;196;p89" descr="A large body of water with a city in the background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 l="-1" t="15627" r="-1" b="6560"/>
          <a:stretch/>
        </p:blipFill>
        <p:spPr>
          <a:xfrm>
            <a:off x="0" y="1522048"/>
            <a:ext cx="12192000" cy="5335952"/>
          </a:xfrm>
          <a:prstGeom prst="rect">
            <a:avLst/>
          </a:prstGeom>
          <a:noFill/>
          <a:ln>
            <a:noFill/>
          </a:ln>
        </p:spPr>
      </p:pic>
      <p:sp>
        <p:nvSpPr>
          <p:cNvPr id="197" name="Google Shape;197;p89"/>
          <p:cNvSpPr/>
          <p:nvPr/>
        </p:nvSpPr>
        <p:spPr>
          <a:xfrm>
            <a:off x="536448" y="0"/>
            <a:ext cx="6363291" cy="6308726"/>
          </a:xfrm>
          <a:prstGeom prst="rect">
            <a:avLst/>
          </a:prstGeom>
          <a:gradFill>
            <a:gsLst>
              <a:gs pos="0">
                <a:srgbClr val="062379"/>
              </a:gs>
              <a:gs pos="39000">
                <a:srgbClr val="0934B6">
                  <a:alpha val="94901"/>
                </a:srgbClr>
              </a:gs>
              <a:gs pos="74000">
                <a:srgbClr val="036DFF">
                  <a:alpha val="80000"/>
                </a:srgbClr>
              </a:gs>
              <a:gs pos="100000">
                <a:srgbClr val="43E1D3">
                  <a:alpha val="89803"/>
                </a:srgbClr>
              </a:gs>
            </a:gsLst>
            <a:lin ang="3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fr-FR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" name="Google Shape;198;p89"/>
          <p:cNvSpPr txBox="1">
            <a:spLocks noGrp="1"/>
          </p:cNvSpPr>
          <p:nvPr>
            <p:ph type="ctrTitle"/>
          </p:nvPr>
        </p:nvSpPr>
        <p:spPr>
          <a:xfrm>
            <a:off x="902896" y="3605295"/>
            <a:ext cx="5478239" cy="692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199" name="Google Shape;199;p89"/>
          <p:cNvSpPr txBox="1">
            <a:spLocks noGrp="1"/>
          </p:cNvSpPr>
          <p:nvPr>
            <p:ph type="subTitle" idx="1"/>
          </p:nvPr>
        </p:nvSpPr>
        <p:spPr>
          <a:xfrm>
            <a:off x="902896" y="4348579"/>
            <a:ext cx="5478239" cy="420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00" name="Google Shape;200;p89"/>
          <p:cNvSpPr txBox="1">
            <a:spLocks noGrp="1"/>
          </p:cNvSpPr>
          <p:nvPr>
            <p:ph type="dt" idx="10"/>
          </p:nvPr>
        </p:nvSpPr>
        <p:spPr>
          <a:xfrm>
            <a:off x="902896" y="5923689"/>
            <a:ext cx="1582738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fr-FR" dirty="0"/>
          </a:p>
        </p:txBody>
      </p:sp>
      <p:pic>
        <p:nvPicPr>
          <p:cNvPr id="201" name="Google Shape;201;p89"/>
          <p:cNvPicPr preferRelativeResize="0"/>
          <p:nvPr/>
        </p:nvPicPr>
        <p:blipFill rotWithShape="1">
          <a:blip r:embed="rId6">
            <a:alphaModFix/>
          </a:blip>
          <a:srcRect l="738" r="729"/>
          <a:stretch/>
        </p:blipFill>
        <p:spPr>
          <a:xfrm>
            <a:off x="1064010" y="450470"/>
            <a:ext cx="2705352" cy="62208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Layout">
  <p:cSld name="2 Column Layout"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08956AF-0733-3F15-B799-D6ABF15C94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2821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3" name="Google Shape;203;p90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204" name="Google Shape;204;p90"/>
          <p:cNvSpPr txBox="1">
            <a:spLocks noGrp="1"/>
          </p:cNvSpPr>
          <p:nvPr>
            <p:ph type="ftr" idx="11"/>
          </p:nvPr>
        </p:nvSpPr>
        <p:spPr>
          <a:xfrm>
            <a:off x="550862" y="6450225"/>
            <a:ext cx="95539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fr-FR" dirty="0"/>
          </a:p>
        </p:txBody>
      </p:sp>
      <p:sp>
        <p:nvSpPr>
          <p:cNvPr id="205" name="Google Shape;205;p9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06" name="Google Shape;206;p90"/>
          <p:cNvSpPr txBox="1">
            <a:spLocks noGrp="1"/>
          </p:cNvSpPr>
          <p:nvPr>
            <p:ph type="body" idx="1"/>
          </p:nvPr>
        </p:nvSpPr>
        <p:spPr>
          <a:xfrm>
            <a:off x="550863" y="2175803"/>
            <a:ext cx="5400675" cy="332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07" name="Google Shape;207;p90"/>
          <p:cNvSpPr txBox="1">
            <a:spLocks noGrp="1"/>
          </p:cNvSpPr>
          <p:nvPr>
            <p:ph type="body" idx="2"/>
          </p:nvPr>
        </p:nvSpPr>
        <p:spPr>
          <a:xfrm>
            <a:off x="550863" y="1857375"/>
            <a:ext cx="5400675" cy="3913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08" name="Google Shape;208;p90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5400675" cy="332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  <p:sp>
        <p:nvSpPr>
          <p:cNvPr id="209" name="Google Shape;209;p90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5400675" cy="3913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fr-FR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image" Target="../media/image11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2.xml"/><Relationship Id="rId16" Type="http://schemas.openxmlformats.org/officeDocument/2006/relationships/oleObject" Target="../embeddings/oleObject20.bin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tags" Target="../tags/tag21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oleObject" Target="../embeddings/oleObject21.bin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2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3.xml"/><Relationship Id="rId19" Type="http://schemas.openxmlformats.org/officeDocument/2006/relationships/image" Target="../media/image20.png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13C0AAA6-7B63-061A-EC5C-039756EFD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728094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95" imgH="396" progId="TCLayout.ActiveDocument.1">
                  <p:embed/>
                </p:oleObj>
              </mc:Choice>
              <mc:Fallback>
                <p:oleObj name="think-cell Slide" r:id="rId2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oogle Shape;10;p71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1" name="Google Shape;11;p71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;p71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3;p71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4;p71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5;p71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71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71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71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71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71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71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2;p71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3;p71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fr-FR" sz="1800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4" name="Google Shape;24;p71"/>
          <p:cNvPicPr preferRelativeResize="0"/>
          <p:nvPr/>
        </p:nvPicPr>
        <p:blipFill rotWithShape="1">
          <a:blip r:embed="rId25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7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lang="fr-FR" dirty="0"/>
          </a:p>
        </p:txBody>
      </p:sp>
      <p:sp>
        <p:nvSpPr>
          <p:cNvPr id="26" name="Google Shape;26;p71"/>
          <p:cNvSpPr txBox="1">
            <a:spLocks noGrp="1"/>
          </p:cNvSpPr>
          <p:nvPr>
            <p:ph type="body" idx="1"/>
          </p:nvPr>
        </p:nvSpPr>
        <p:spPr>
          <a:xfrm>
            <a:off x="550862" y="1859913"/>
            <a:ext cx="11089973" cy="362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fr-FR" dirty="0"/>
          </a:p>
        </p:txBody>
      </p:sp>
      <p:sp>
        <p:nvSpPr>
          <p:cNvPr id="27" name="Google Shape;27;p71"/>
          <p:cNvSpPr txBox="1">
            <a:spLocks noGrp="1"/>
          </p:cNvSpPr>
          <p:nvPr>
            <p:ph type="ftr" idx="11"/>
          </p:nvPr>
        </p:nvSpPr>
        <p:spPr>
          <a:xfrm>
            <a:off x="550862" y="6450225"/>
            <a:ext cx="95539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fr-FR" dirty="0"/>
          </a:p>
        </p:txBody>
      </p:sp>
      <p:sp>
        <p:nvSpPr>
          <p:cNvPr id="28" name="Google Shape;28;p7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9" name="Google Shape;29;p71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800" b="0" i="0" u="none" strike="noStrike" cap="none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</a:t>
            </a:r>
            <a:r>
              <a:rPr lang="fr-FR" sz="800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22</a:t>
            </a:r>
            <a:r>
              <a:rPr lang="fr-FR" sz="800" b="0" i="0" u="none" strike="noStrike" cap="none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. All </a:t>
            </a:r>
            <a:r>
              <a:rPr lang="fr-FR" sz="800" b="0" i="0" u="none" strike="noStrike" cap="none" dirty="0" err="1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rights</a:t>
            </a:r>
            <a:r>
              <a:rPr lang="fr-FR" sz="800" b="0" i="0" u="none" strike="noStrike" cap="none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sz="800" b="0" i="0" u="none" strike="noStrike" cap="none" dirty="0" err="1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reserved</a:t>
            </a:r>
            <a:r>
              <a:rPr lang="fr-FR" sz="800" b="0" i="0" u="none" strike="noStrike" cap="none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endParaRPr lang="fr-FR" dirty="0"/>
          </a:p>
        </p:txBody>
      </p:sp>
      <p:cxnSp>
        <p:nvCxnSpPr>
          <p:cNvPr id="30" name="Google Shape;30;p71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" name="Google Shape;31;p71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 sz="1000" b="0" i="0" u="none" strike="noStrike" cap="none" smtClean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fr-FR" sz="1000" b="0" i="0" u="none" strike="noStrike" cap="none" dirty="0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3677" r:id="rId19"/>
    <p:sldLayoutId id="2147483707" r:id="rId2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011B7AB-3E8A-D392-7889-5E0080FF57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926828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oogle Shape;10;p45"/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 rot="-5400000">
            <a:off x="11846517" y="6335604"/>
            <a:ext cx="392445" cy="889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4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45"/>
          <p:cNvSpPr txBox="1">
            <a:spLocks noGrp="1"/>
          </p:cNvSpPr>
          <p:nvPr>
            <p:ph type="body" idx="1"/>
          </p:nvPr>
        </p:nvSpPr>
        <p:spPr>
          <a:xfrm>
            <a:off x="550862" y="1859913"/>
            <a:ext cx="11089973" cy="362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45"/>
          <p:cNvSpPr txBox="1">
            <a:spLocks noGrp="1"/>
          </p:cNvSpPr>
          <p:nvPr>
            <p:ph type="ftr" idx="11"/>
          </p:nvPr>
        </p:nvSpPr>
        <p:spPr>
          <a:xfrm>
            <a:off x="550863" y="6450225"/>
            <a:ext cx="554513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4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" name="Google Shape;15;p4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6" name="Google Shape;16;p4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" name="Google Shape;17;p45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5609271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F22289-3CB6-96F9-1C00-631088CE9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792807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" name="Google Shape;285;p5"/>
          <p:cNvSpPr txBox="1">
            <a:spLocks noGrp="1"/>
          </p:cNvSpPr>
          <p:nvPr>
            <p:ph type="title"/>
          </p:nvPr>
        </p:nvSpPr>
        <p:spPr>
          <a:xfrm>
            <a:off x="551714" y="439247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6" name="Google Shape;286;p5"/>
          <p:cNvSpPr txBox="1">
            <a:spLocks noGrp="1"/>
          </p:cNvSpPr>
          <p:nvPr>
            <p:ph type="body" idx="1"/>
          </p:nvPr>
        </p:nvSpPr>
        <p:spPr>
          <a:xfrm>
            <a:off x="551713" y="1802585"/>
            <a:ext cx="11089973" cy="320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877"/>
              </a:spcBef>
              <a:spcAft>
                <a:spcPts val="0"/>
              </a:spcAft>
              <a:buClr>
                <a:schemeClr val="dk1"/>
              </a:buClr>
              <a:buSzPts val="1403"/>
              <a:buFont typeface="Arial"/>
              <a:buNone/>
              <a:defRPr sz="14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08800" algn="l" rtl="0">
              <a:lnSpc>
                <a:spcPct val="95000"/>
              </a:lnSpc>
              <a:spcBef>
                <a:spcPts val="439"/>
              </a:spcBef>
              <a:spcAft>
                <a:spcPts val="0"/>
              </a:spcAft>
              <a:buClr>
                <a:schemeClr val="dk2"/>
              </a:buClr>
              <a:buSzPts val="1263"/>
              <a:buFont typeface="Noto Sans Symbols"/>
              <a:buChar char="▪"/>
              <a:defRPr sz="14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17690" algn="l" rtl="0">
              <a:lnSpc>
                <a:spcPct val="95000"/>
              </a:lnSpc>
              <a:spcBef>
                <a:spcPts val="263"/>
              </a:spcBef>
              <a:spcAft>
                <a:spcPts val="0"/>
              </a:spcAft>
              <a:buClr>
                <a:schemeClr val="dk2"/>
              </a:buClr>
              <a:buSzPts val="1403"/>
              <a:buFont typeface="Calibri"/>
              <a:buChar char="−"/>
              <a:defRPr sz="14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08800" algn="l" rtl="0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Clr>
                <a:schemeClr val="dk2"/>
              </a:buClr>
              <a:buSzPts val="1263"/>
              <a:buFont typeface="Arial"/>
              <a:buChar char="•"/>
              <a:defRPr sz="14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690" algn="l" rtl="0">
              <a:lnSpc>
                <a:spcPct val="95000"/>
              </a:lnSpc>
              <a:spcBef>
                <a:spcPts val="88"/>
              </a:spcBef>
              <a:spcAft>
                <a:spcPts val="0"/>
              </a:spcAft>
              <a:buClr>
                <a:schemeClr val="dk2"/>
              </a:buClr>
              <a:buSzPts val="1403"/>
              <a:buFont typeface="Calibri"/>
              <a:buChar char="−"/>
              <a:defRPr sz="14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28866" algn="l" rtl="0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579"/>
              <a:buFont typeface="Arial"/>
              <a:buChar char="•"/>
              <a:defRPr sz="15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28866" algn="l" rtl="0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579"/>
              <a:buFont typeface="Arial"/>
              <a:buChar char="•"/>
              <a:defRPr sz="15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28866" algn="l" rtl="0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579"/>
              <a:buFont typeface="Arial"/>
              <a:buChar char="•"/>
              <a:defRPr sz="15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28866" algn="l" rtl="0">
              <a:lnSpc>
                <a:spcPct val="90000"/>
              </a:lnSpc>
              <a:spcBef>
                <a:spcPts val="439"/>
              </a:spcBef>
              <a:spcAft>
                <a:spcPts val="0"/>
              </a:spcAft>
              <a:buClr>
                <a:schemeClr val="dk1"/>
              </a:buClr>
              <a:buSzPts val="1579"/>
              <a:buFont typeface="Arial"/>
              <a:buChar char="•"/>
              <a:defRPr sz="15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7" name="Google Shape;287;p5"/>
          <p:cNvSpPr txBox="1">
            <a:spLocks noGrp="1"/>
          </p:cNvSpPr>
          <p:nvPr>
            <p:ph type="ftr" idx="11"/>
          </p:nvPr>
        </p:nvSpPr>
        <p:spPr>
          <a:xfrm>
            <a:off x="550862" y="6481670"/>
            <a:ext cx="488056" cy="1224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96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8" name="Google Shape;288;p5"/>
          <p:cNvSpPr txBox="1">
            <a:spLocks noGrp="1"/>
          </p:cNvSpPr>
          <p:nvPr>
            <p:ph type="sldNum" idx="12"/>
          </p:nvPr>
        </p:nvSpPr>
        <p:spPr>
          <a:xfrm>
            <a:off x="11489118" y="6493892"/>
            <a:ext cx="151718" cy="110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77"/>
              <a:buFont typeface="Arial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77"/>
              <a:buFont typeface="Arial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77"/>
              <a:buFont typeface="Arial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77"/>
              <a:buFont typeface="Arial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77"/>
              <a:buFont typeface="Arial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77"/>
              <a:buFont typeface="Arial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77"/>
              <a:buFont typeface="Arial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77"/>
              <a:buFont typeface="Arial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77"/>
              <a:buFont typeface="Arial"/>
              <a:buNone/>
              <a:defRPr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grpSp>
        <p:nvGrpSpPr>
          <p:cNvPr id="289" name="Google Shape;289;p5"/>
          <p:cNvGrpSpPr/>
          <p:nvPr/>
        </p:nvGrpSpPr>
        <p:grpSpPr>
          <a:xfrm>
            <a:off x="12005994" y="4935563"/>
            <a:ext cx="88229" cy="1647813"/>
            <a:chOff x="10528644" y="5463404"/>
            <a:chExt cx="77372" cy="1816409"/>
          </a:xfrm>
        </p:grpSpPr>
        <p:grpSp>
          <p:nvGrpSpPr>
            <p:cNvPr id="290" name="Google Shape;290;p5"/>
            <p:cNvGrpSpPr/>
            <p:nvPr/>
          </p:nvGrpSpPr>
          <p:grpSpPr>
            <a:xfrm>
              <a:off x="10530628" y="6878757"/>
              <a:ext cx="62166" cy="401056"/>
              <a:chOff x="10629461" y="6878757"/>
              <a:chExt cx="62166" cy="401056"/>
            </a:xfrm>
          </p:grpSpPr>
          <p:sp>
            <p:nvSpPr>
              <p:cNvPr id="291" name="Google Shape;291;p5"/>
              <p:cNvSpPr/>
              <p:nvPr/>
            </p:nvSpPr>
            <p:spPr>
              <a:xfrm rot="-5400000">
                <a:off x="10688095" y="7163862"/>
                <a:ext cx="1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58" extrusionOk="0">
                    <a:moveTo>
                      <a:pt x="0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5"/>
              <p:cNvSpPr/>
              <p:nvPr/>
            </p:nvSpPr>
            <p:spPr>
              <a:xfrm rot="-5400000">
                <a:off x="10652401" y="7145302"/>
                <a:ext cx="411" cy="246"/>
              </a:xfrm>
              <a:custGeom>
                <a:avLst/>
                <a:gdLst/>
                <a:ahLst/>
                <a:cxnLst/>
                <a:rect l="l" t="t" r="r" b="b"/>
                <a:pathLst>
                  <a:path w="411" h="246" extrusionOk="0">
                    <a:moveTo>
                      <a:pt x="0" y="0"/>
                    </a:moveTo>
                    <a:cubicBezTo>
                      <a:pt x="234" y="156"/>
                      <a:pt x="452" y="312"/>
                      <a:pt x="405" y="218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5"/>
              <p:cNvSpPr/>
              <p:nvPr/>
            </p:nvSpPr>
            <p:spPr>
              <a:xfrm rot="-5400000">
                <a:off x="10652556" y="7165151"/>
                <a:ext cx="13" cy="69"/>
              </a:xfrm>
              <a:custGeom>
                <a:avLst/>
                <a:gdLst/>
                <a:ahLst/>
                <a:cxnLst/>
                <a:rect l="l" t="t" r="r" b="b"/>
                <a:pathLst>
                  <a:path w="13" h="69" extrusionOk="0">
                    <a:moveTo>
                      <a:pt x="14" y="35"/>
                    </a:moveTo>
                    <a:cubicBezTo>
                      <a:pt x="14" y="35"/>
                      <a:pt x="14" y="-43"/>
                      <a:pt x="14" y="35"/>
                    </a:cubicBezTo>
                    <a:cubicBezTo>
                      <a:pt x="14" y="113"/>
                      <a:pt x="-17" y="35"/>
                      <a:pt x="14" y="35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5"/>
              <p:cNvSpPr/>
              <p:nvPr/>
            </p:nvSpPr>
            <p:spPr>
              <a:xfrm rot="-5400000">
                <a:off x="10650495" y="7161416"/>
                <a:ext cx="237" cy="93"/>
              </a:xfrm>
              <a:custGeom>
                <a:avLst/>
                <a:gdLst/>
                <a:ahLst/>
                <a:cxnLst/>
                <a:rect l="l" t="t" r="r" b="b"/>
                <a:pathLst>
                  <a:path w="237" h="93" extrusionOk="0">
                    <a:moveTo>
                      <a:pt x="238" y="0"/>
                    </a:moveTo>
                    <a:lnTo>
                      <a:pt x="50" y="94"/>
                    </a:lnTo>
                    <a:cubicBezTo>
                      <a:pt x="160" y="94"/>
                      <a:pt x="-105" y="94"/>
                      <a:pt x="50" y="9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" name="Google Shape;295;p5"/>
              <p:cNvSpPr/>
              <p:nvPr/>
            </p:nvSpPr>
            <p:spPr>
              <a:xfrm rot="-5400000">
                <a:off x="10645049" y="7132879"/>
                <a:ext cx="46577" cy="46577"/>
              </a:xfrm>
              <a:custGeom>
                <a:avLst/>
                <a:gdLst/>
                <a:ahLst/>
                <a:cxnLst/>
                <a:rect l="l" t="t" r="r" b="b"/>
                <a:pathLst>
                  <a:path w="46577" h="46577" extrusionOk="0">
                    <a:moveTo>
                      <a:pt x="23289" y="0"/>
                    </a:moveTo>
                    <a:cubicBezTo>
                      <a:pt x="10427" y="0"/>
                      <a:pt x="0" y="10427"/>
                      <a:pt x="0" y="23289"/>
                    </a:cubicBezTo>
                    <a:cubicBezTo>
                      <a:pt x="0" y="36151"/>
                      <a:pt x="10427" y="46578"/>
                      <a:pt x="23289" y="46578"/>
                    </a:cubicBezTo>
                    <a:cubicBezTo>
                      <a:pt x="36151" y="46578"/>
                      <a:pt x="46577" y="36151"/>
                      <a:pt x="46577" y="23289"/>
                    </a:cubicBezTo>
                    <a:cubicBezTo>
                      <a:pt x="46577" y="23273"/>
                      <a:pt x="46577" y="23258"/>
                      <a:pt x="46577" y="23242"/>
                    </a:cubicBezTo>
                    <a:cubicBezTo>
                      <a:pt x="46569" y="10397"/>
                      <a:pt x="36149" y="-9"/>
                      <a:pt x="23304" y="0"/>
                    </a:cubicBezTo>
                    <a:cubicBezTo>
                      <a:pt x="23299" y="0"/>
                      <a:pt x="23294" y="0"/>
                      <a:pt x="23289" y="0"/>
                    </a:cubicBezTo>
                    <a:close/>
                    <a:moveTo>
                      <a:pt x="24473" y="14201"/>
                    </a:moveTo>
                    <a:cubicBezTo>
                      <a:pt x="24380" y="14201"/>
                      <a:pt x="24473" y="14326"/>
                      <a:pt x="24473" y="14372"/>
                    </a:cubicBezTo>
                    <a:cubicBezTo>
                      <a:pt x="24407" y="14358"/>
                      <a:pt x="24337" y="14358"/>
                      <a:pt x="24271" y="14372"/>
                    </a:cubicBezTo>
                    <a:cubicBezTo>
                      <a:pt x="24411" y="14372"/>
                      <a:pt x="24629" y="14559"/>
                      <a:pt x="24442" y="14669"/>
                    </a:cubicBezTo>
                    <a:cubicBezTo>
                      <a:pt x="24255" y="14778"/>
                      <a:pt x="24520" y="14669"/>
                      <a:pt x="24536" y="14669"/>
                    </a:cubicBezTo>
                    <a:cubicBezTo>
                      <a:pt x="24660" y="14388"/>
                      <a:pt x="25034" y="14778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769" y="14965"/>
                      <a:pt x="24769" y="14965"/>
                    </a:cubicBezTo>
                    <a:lnTo>
                      <a:pt x="24769" y="14965"/>
                    </a:lnTo>
                    <a:cubicBezTo>
                      <a:pt x="24769" y="14965"/>
                      <a:pt x="24676" y="14965"/>
                      <a:pt x="24645" y="14965"/>
                    </a:cubicBezTo>
                    <a:cubicBezTo>
                      <a:pt x="24614" y="14965"/>
                      <a:pt x="24645" y="14965"/>
                      <a:pt x="24645" y="15058"/>
                    </a:cubicBezTo>
                    <a:cubicBezTo>
                      <a:pt x="24645" y="15152"/>
                      <a:pt x="24754" y="15058"/>
                      <a:pt x="24645" y="15058"/>
                    </a:cubicBezTo>
                    <a:cubicBezTo>
                      <a:pt x="24536" y="15058"/>
                      <a:pt x="24769" y="15058"/>
                      <a:pt x="24847" y="15058"/>
                    </a:cubicBezTo>
                    <a:cubicBezTo>
                      <a:pt x="24925" y="15058"/>
                      <a:pt x="24754" y="15167"/>
                      <a:pt x="24754" y="15245"/>
                    </a:cubicBezTo>
                    <a:cubicBezTo>
                      <a:pt x="24754" y="15323"/>
                      <a:pt x="24317" y="15370"/>
                      <a:pt x="24271" y="15245"/>
                    </a:cubicBezTo>
                    <a:cubicBezTo>
                      <a:pt x="24224" y="15121"/>
                      <a:pt x="23865" y="15245"/>
                      <a:pt x="23663" y="15339"/>
                    </a:cubicBezTo>
                    <a:cubicBezTo>
                      <a:pt x="23460" y="15432"/>
                      <a:pt x="23663" y="15542"/>
                      <a:pt x="23476" y="15417"/>
                    </a:cubicBezTo>
                    <a:cubicBezTo>
                      <a:pt x="23289" y="15292"/>
                      <a:pt x="23242" y="15417"/>
                      <a:pt x="23195" y="15557"/>
                    </a:cubicBezTo>
                    <a:cubicBezTo>
                      <a:pt x="23148" y="15697"/>
                      <a:pt x="23195" y="15557"/>
                      <a:pt x="23055" y="15557"/>
                    </a:cubicBezTo>
                    <a:cubicBezTo>
                      <a:pt x="23189" y="15454"/>
                      <a:pt x="23315" y="15339"/>
                      <a:pt x="23429" y="15214"/>
                    </a:cubicBezTo>
                    <a:cubicBezTo>
                      <a:pt x="23429" y="15058"/>
                      <a:pt x="23647" y="15214"/>
                      <a:pt x="23772" y="15214"/>
                    </a:cubicBezTo>
                    <a:cubicBezTo>
                      <a:pt x="23897" y="15214"/>
                      <a:pt x="23865" y="15074"/>
                      <a:pt x="23912" y="15012"/>
                    </a:cubicBezTo>
                    <a:cubicBezTo>
                      <a:pt x="23959" y="14949"/>
                      <a:pt x="23678" y="15214"/>
                      <a:pt x="23600" y="15089"/>
                    </a:cubicBezTo>
                    <a:cubicBezTo>
                      <a:pt x="23522" y="14965"/>
                      <a:pt x="23367" y="15089"/>
                      <a:pt x="23507" y="15089"/>
                    </a:cubicBezTo>
                    <a:cubicBezTo>
                      <a:pt x="23647" y="15089"/>
                      <a:pt x="23382" y="15089"/>
                      <a:pt x="23289" y="15089"/>
                    </a:cubicBezTo>
                    <a:lnTo>
                      <a:pt x="23289" y="15089"/>
                    </a:lnTo>
                    <a:cubicBezTo>
                      <a:pt x="23289" y="15089"/>
                      <a:pt x="23289" y="15089"/>
                      <a:pt x="23289" y="15089"/>
                    </a:cubicBezTo>
                    <a:cubicBezTo>
                      <a:pt x="23522" y="15012"/>
                      <a:pt x="23632" y="14949"/>
                      <a:pt x="23600" y="14715"/>
                    </a:cubicBezTo>
                    <a:lnTo>
                      <a:pt x="23444" y="14715"/>
                    </a:lnTo>
                    <a:cubicBezTo>
                      <a:pt x="23554" y="14606"/>
                      <a:pt x="23709" y="14466"/>
                      <a:pt x="23865" y="14575"/>
                    </a:cubicBezTo>
                    <a:cubicBezTo>
                      <a:pt x="23741" y="14419"/>
                      <a:pt x="23865" y="14575"/>
                      <a:pt x="23865" y="14575"/>
                    </a:cubicBezTo>
                    <a:cubicBezTo>
                      <a:pt x="23865" y="14575"/>
                      <a:pt x="23772" y="14372"/>
                      <a:pt x="23865" y="14326"/>
                    </a:cubicBezTo>
                    <a:cubicBezTo>
                      <a:pt x="23959" y="14279"/>
                      <a:pt x="23865" y="14201"/>
                      <a:pt x="23772" y="14326"/>
                    </a:cubicBezTo>
                    <a:lnTo>
                      <a:pt x="23772" y="14326"/>
                    </a:lnTo>
                    <a:cubicBezTo>
                      <a:pt x="23647" y="14326"/>
                      <a:pt x="23772" y="14045"/>
                      <a:pt x="23772" y="14061"/>
                    </a:cubicBezTo>
                    <a:cubicBezTo>
                      <a:pt x="23616" y="14061"/>
                      <a:pt x="23585" y="14170"/>
                      <a:pt x="23444" y="14061"/>
                    </a:cubicBezTo>
                    <a:cubicBezTo>
                      <a:pt x="23304" y="13952"/>
                      <a:pt x="23444" y="14061"/>
                      <a:pt x="23444" y="14154"/>
                    </a:cubicBezTo>
                    <a:cubicBezTo>
                      <a:pt x="23444" y="14248"/>
                      <a:pt x="23289" y="14029"/>
                      <a:pt x="23335" y="14154"/>
                    </a:cubicBezTo>
                    <a:cubicBezTo>
                      <a:pt x="23382" y="14279"/>
                      <a:pt x="23335" y="14061"/>
                      <a:pt x="23335" y="14029"/>
                    </a:cubicBezTo>
                    <a:lnTo>
                      <a:pt x="23335" y="14029"/>
                    </a:lnTo>
                    <a:cubicBezTo>
                      <a:pt x="23335" y="14029"/>
                      <a:pt x="23335" y="13874"/>
                      <a:pt x="23429" y="13827"/>
                    </a:cubicBezTo>
                    <a:cubicBezTo>
                      <a:pt x="23522" y="13780"/>
                      <a:pt x="23335" y="13640"/>
                      <a:pt x="23429" y="13671"/>
                    </a:cubicBezTo>
                    <a:cubicBezTo>
                      <a:pt x="23522" y="13702"/>
                      <a:pt x="23429" y="13671"/>
                      <a:pt x="23429" y="13577"/>
                    </a:cubicBezTo>
                    <a:cubicBezTo>
                      <a:pt x="23429" y="13484"/>
                      <a:pt x="23429" y="13655"/>
                      <a:pt x="23429" y="13687"/>
                    </a:cubicBezTo>
                    <a:lnTo>
                      <a:pt x="23429" y="13687"/>
                    </a:ln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9" y="13687"/>
                      <a:pt x="23429" y="13687"/>
                      <a:pt x="23429" y="13687"/>
                    </a:cubicBezTo>
                    <a:cubicBezTo>
                      <a:pt x="23425" y="13770"/>
                      <a:pt x="23425" y="13853"/>
                      <a:pt x="23429" y="13936"/>
                    </a:cubicBezTo>
                    <a:cubicBezTo>
                      <a:pt x="23335" y="13936"/>
                      <a:pt x="23429" y="13811"/>
                      <a:pt x="23429" y="13764"/>
                    </a:cubicBezTo>
                    <a:cubicBezTo>
                      <a:pt x="23429" y="13718"/>
                      <a:pt x="23429" y="13484"/>
                      <a:pt x="23522" y="13453"/>
                    </a:cubicBezTo>
                    <a:cubicBezTo>
                      <a:pt x="23616" y="13422"/>
                      <a:pt x="23522" y="13453"/>
                      <a:pt x="23522" y="13453"/>
                    </a:cubicBezTo>
                    <a:cubicBezTo>
                      <a:pt x="23522" y="13453"/>
                      <a:pt x="23413" y="13593"/>
                      <a:pt x="23351" y="13453"/>
                    </a:cubicBezTo>
                    <a:cubicBezTo>
                      <a:pt x="23289" y="13312"/>
                      <a:pt x="23351" y="13453"/>
                      <a:pt x="23351" y="13453"/>
                    </a:cubicBezTo>
                    <a:cubicBezTo>
                      <a:pt x="23351" y="13453"/>
                      <a:pt x="23351" y="13328"/>
                      <a:pt x="23476" y="13375"/>
                    </a:cubicBezTo>
                    <a:cubicBezTo>
                      <a:pt x="23600" y="13422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cubicBezTo>
                      <a:pt x="23476" y="13375"/>
                      <a:pt x="23476" y="13375"/>
                      <a:pt x="23476" y="13375"/>
                    </a:cubicBezTo>
                    <a:lnTo>
                      <a:pt x="23476" y="13375"/>
                    </a:lnTo>
                    <a:lnTo>
                      <a:pt x="23476" y="13297"/>
                    </a:lnTo>
                    <a:cubicBezTo>
                      <a:pt x="23476" y="13297"/>
                      <a:pt x="23476" y="13297"/>
                      <a:pt x="23476" y="13297"/>
                    </a:cubicBezTo>
                    <a:cubicBezTo>
                      <a:pt x="23476" y="13297"/>
                      <a:pt x="23476" y="13219"/>
                      <a:pt x="23476" y="13172"/>
                    </a:cubicBezTo>
                    <a:lnTo>
                      <a:pt x="23476" y="13172"/>
                    </a:lnTo>
                    <a:cubicBezTo>
                      <a:pt x="23476" y="13172"/>
                      <a:pt x="23476" y="13172"/>
                      <a:pt x="23476" y="13172"/>
                    </a:cubicBezTo>
                    <a:cubicBezTo>
                      <a:pt x="23476" y="13172"/>
                      <a:pt x="23476" y="13172"/>
                      <a:pt x="23569" y="13172"/>
                    </a:cubicBezTo>
                    <a:cubicBezTo>
                      <a:pt x="23574" y="13146"/>
                      <a:pt x="23574" y="13120"/>
                      <a:pt x="23569" y="13094"/>
                    </a:cubicBezTo>
                    <a:cubicBezTo>
                      <a:pt x="23569" y="13094"/>
                      <a:pt x="23678" y="12782"/>
                      <a:pt x="23709" y="12969"/>
                    </a:cubicBezTo>
                    <a:cubicBezTo>
                      <a:pt x="23741" y="13157"/>
                      <a:pt x="23709" y="12969"/>
                      <a:pt x="23709" y="12969"/>
                    </a:cubicBezTo>
                    <a:cubicBezTo>
                      <a:pt x="24084" y="12829"/>
                      <a:pt x="23990" y="12969"/>
                      <a:pt x="23709" y="13188"/>
                    </a:cubicBezTo>
                    <a:lnTo>
                      <a:pt x="23709" y="13188"/>
                    </a:lnTo>
                    <a:cubicBezTo>
                      <a:pt x="23507" y="13375"/>
                      <a:pt x="23928" y="13188"/>
                      <a:pt x="24037" y="13188"/>
                    </a:cubicBezTo>
                    <a:cubicBezTo>
                      <a:pt x="24146" y="13188"/>
                      <a:pt x="24037" y="13640"/>
                      <a:pt x="23834" y="13609"/>
                    </a:cubicBezTo>
                    <a:cubicBezTo>
                      <a:pt x="23632" y="13577"/>
                      <a:pt x="23834" y="13609"/>
                      <a:pt x="23834" y="13609"/>
                    </a:cubicBezTo>
                    <a:cubicBezTo>
                      <a:pt x="23834" y="13609"/>
                      <a:pt x="23694" y="13733"/>
                      <a:pt x="23600" y="13609"/>
                    </a:cubicBezTo>
                    <a:cubicBezTo>
                      <a:pt x="23654" y="13665"/>
                      <a:pt x="23743" y="13666"/>
                      <a:pt x="23799" y="13613"/>
                    </a:cubicBezTo>
                    <a:cubicBezTo>
                      <a:pt x="23800" y="13612"/>
                      <a:pt x="23802" y="13610"/>
                      <a:pt x="23803" y="13609"/>
                    </a:cubicBezTo>
                    <a:cubicBezTo>
                      <a:pt x="24037" y="13702"/>
                      <a:pt x="24052" y="13952"/>
                      <a:pt x="24130" y="14139"/>
                    </a:cubicBezTo>
                    <a:cubicBezTo>
                      <a:pt x="24208" y="14326"/>
                      <a:pt x="24349" y="14107"/>
                      <a:pt x="24473" y="14170"/>
                    </a:cubicBezTo>
                    <a:close/>
                    <a:moveTo>
                      <a:pt x="16461" y="43086"/>
                    </a:move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461" y="43086"/>
                    </a:lnTo>
                    <a:lnTo>
                      <a:pt x="16539" y="43086"/>
                    </a:lnTo>
                    <a:lnTo>
                      <a:pt x="16539" y="43086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21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399" y="42961"/>
                    </a:lnTo>
                    <a:lnTo>
                      <a:pt x="16149" y="42852"/>
                    </a:lnTo>
                    <a:lnTo>
                      <a:pt x="16149" y="42852"/>
                    </a:lnTo>
                    <a:cubicBezTo>
                      <a:pt x="16149" y="42852"/>
                      <a:pt x="16149" y="42852"/>
                      <a:pt x="16149" y="42852"/>
                    </a:cubicBezTo>
                    <a:cubicBezTo>
                      <a:pt x="16120" y="42838"/>
                      <a:pt x="16085" y="42838"/>
                      <a:pt x="16056" y="42852"/>
                    </a:cubicBez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056" y="42852"/>
                    </a:lnTo>
                    <a:lnTo>
                      <a:pt x="16212" y="42852"/>
                    </a:lnTo>
                    <a:lnTo>
                      <a:pt x="16025" y="42852"/>
                    </a:lnTo>
                    <a:lnTo>
                      <a:pt x="16025" y="42852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806" y="42759"/>
                    </a:lnTo>
                    <a:lnTo>
                      <a:pt x="15682" y="42759"/>
                    </a:lnTo>
                    <a:lnTo>
                      <a:pt x="15853" y="42852"/>
                    </a:lnTo>
                    <a:lnTo>
                      <a:pt x="15604" y="42727"/>
                    </a:lnTo>
                    <a:lnTo>
                      <a:pt x="15604" y="42727"/>
                    </a:lnTo>
                    <a:lnTo>
                      <a:pt x="15760" y="42727"/>
                    </a:lnTo>
                    <a:lnTo>
                      <a:pt x="15635" y="42727"/>
                    </a:lnTo>
                    <a:lnTo>
                      <a:pt x="15760" y="42727"/>
                    </a:lnTo>
                    <a:lnTo>
                      <a:pt x="15526" y="42618"/>
                    </a:lnTo>
                    <a:lnTo>
                      <a:pt x="15526" y="42618"/>
                    </a:lnTo>
                    <a:lnTo>
                      <a:pt x="15432" y="42618"/>
                    </a:lnTo>
                    <a:lnTo>
                      <a:pt x="15432" y="42618"/>
                    </a:lnTo>
                    <a:lnTo>
                      <a:pt x="15230" y="42525"/>
                    </a:lnTo>
                    <a:lnTo>
                      <a:pt x="15230" y="42525"/>
                    </a:lnTo>
                    <a:lnTo>
                      <a:pt x="15152" y="42525"/>
                    </a:lnTo>
                    <a:lnTo>
                      <a:pt x="15152" y="42525"/>
                    </a:lnTo>
                    <a:cubicBezTo>
                      <a:pt x="15026" y="42475"/>
                      <a:pt x="14906" y="42412"/>
                      <a:pt x="14793" y="42338"/>
                    </a:cubicBezTo>
                    <a:lnTo>
                      <a:pt x="14793" y="42338"/>
                    </a:lnTo>
                    <a:lnTo>
                      <a:pt x="14637" y="42244"/>
                    </a:lnTo>
                    <a:lnTo>
                      <a:pt x="14778" y="42338"/>
                    </a:lnTo>
                    <a:lnTo>
                      <a:pt x="14466" y="42166"/>
                    </a:lnTo>
                    <a:lnTo>
                      <a:pt x="14466" y="42166"/>
                    </a:lnTo>
                    <a:lnTo>
                      <a:pt x="14372" y="42166"/>
                    </a:lnTo>
                    <a:lnTo>
                      <a:pt x="14372" y="42166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216" y="42073"/>
                    </a:lnTo>
                    <a:lnTo>
                      <a:pt x="14076" y="41995"/>
                    </a:lnTo>
                    <a:lnTo>
                      <a:pt x="14076" y="41995"/>
                    </a:lnTo>
                    <a:lnTo>
                      <a:pt x="13920" y="41886"/>
                    </a:lnTo>
                    <a:lnTo>
                      <a:pt x="13920" y="41886"/>
                    </a:lnTo>
                    <a:lnTo>
                      <a:pt x="13795" y="41886"/>
                    </a:lnTo>
                    <a:lnTo>
                      <a:pt x="13795" y="41886"/>
                    </a:lnTo>
                    <a:cubicBezTo>
                      <a:pt x="13760" y="41896"/>
                      <a:pt x="13722" y="41896"/>
                      <a:pt x="13686" y="41886"/>
                    </a:cubicBezTo>
                    <a:lnTo>
                      <a:pt x="13686" y="41886"/>
                    </a:lnTo>
                    <a:lnTo>
                      <a:pt x="13811" y="41964"/>
                    </a:lnTo>
                    <a:lnTo>
                      <a:pt x="13686" y="41886"/>
                    </a:lnTo>
                    <a:lnTo>
                      <a:pt x="13686" y="41886"/>
                    </a:lnTo>
                    <a:lnTo>
                      <a:pt x="13577" y="41886"/>
                    </a:lnTo>
                    <a:lnTo>
                      <a:pt x="13577" y="41886"/>
                    </a:lnTo>
                    <a:lnTo>
                      <a:pt x="13453" y="41808"/>
                    </a:lnTo>
                    <a:cubicBezTo>
                      <a:pt x="13513" y="41833"/>
                      <a:pt x="13570" y="41864"/>
                      <a:pt x="13624" y="41901"/>
                    </a:cubicBezTo>
                    <a:cubicBezTo>
                      <a:pt x="13624" y="41901"/>
                      <a:pt x="13749" y="41995"/>
                      <a:pt x="13780" y="41995"/>
                    </a:cubicBezTo>
                    <a:lnTo>
                      <a:pt x="13359" y="41699"/>
                    </a:lnTo>
                    <a:lnTo>
                      <a:pt x="13359" y="41699"/>
                    </a:lnTo>
                    <a:cubicBezTo>
                      <a:pt x="13110" y="41496"/>
                      <a:pt x="12829" y="41324"/>
                      <a:pt x="12595" y="41122"/>
                    </a:cubicBezTo>
                    <a:lnTo>
                      <a:pt x="12689" y="41122"/>
                    </a:lnTo>
                    <a:lnTo>
                      <a:pt x="12548" y="41013"/>
                    </a:lnTo>
                    <a:lnTo>
                      <a:pt x="12548" y="41013"/>
                    </a:lnTo>
                    <a:cubicBezTo>
                      <a:pt x="12548" y="41013"/>
                      <a:pt x="12548" y="41013"/>
                      <a:pt x="12455" y="41013"/>
                    </a:cubicBezTo>
                    <a:lnTo>
                      <a:pt x="12455" y="41013"/>
                    </a:lnTo>
                    <a:lnTo>
                      <a:pt x="12455" y="41013"/>
                    </a:lnTo>
                    <a:lnTo>
                      <a:pt x="12455" y="41013"/>
                    </a:lnTo>
                    <a:cubicBezTo>
                      <a:pt x="12251" y="40890"/>
                      <a:pt x="12063" y="40743"/>
                      <a:pt x="11894" y="40576"/>
                    </a:cubicBezTo>
                    <a:lnTo>
                      <a:pt x="11894" y="40576"/>
                    </a:lnTo>
                    <a:cubicBezTo>
                      <a:pt x="11675" y="40342"/>
                      <a:pt x="11410" y="40171"/>
                      <a:pt x="11177" y="39953"/>
                    </a:cubicBezTo>
                    <a:cubicBezTo>
                      <a:pt x="11177" y="39953"/>
                      <a:pt x="11177" y="39953"/>
                      <a:pt x="11177" y="39953"/>
                    </a:cubicBezTo>
                    <a:cubicBezTo>
                      <a:pt x="10229" y="38961"/>
                      <a:pt x="9393" y="37869"/>
                      <a:pt x="8683" y="36695"/>
                    </a:cubicBezTo>
                    <a:lnTo>
                      <a:pt x="8683" y="36695"/>
                    </a:lnTo>
                    <a:cubicBezTo>
                      <a:pt x="8363" y="35817"/>
                      <a:pt x="7887" y="35004"/>
                      <a:pt x="7280" y="34294"/>
                    </a:cubicBezTo>
                    <a:lnTo>
                      <a:pt x="7280" y="34294"/>
                    </a:lnTo>
                    <a:cubicBezTo>
                      <a:pt x="6307" y="33179"/>
                      <a:pt x="5626" y="31840"/>
                      <a:pt x="5300" y="30397"/>
                    </a:cubicBezTo>
                    <a:cubicBezTo>
                      <a:pt x="5300" y="30397"/>
                      <a:pt x="5300" y="30397"/>
                      <a:pt x="5300" y="30475"/>
                    </a:cubicBezTo>
                    <a:cubicBezTo>
                      <a:pt x="5309" y="30444"/>
                      <a:pt x="5309" y="30412"/>
                      <a:pt x="5300" y="30382"/>
                    </a:cubicBezTo>
                    <a:cubicBezTo>
                      <a:pt x="5300" y="30382"/>
                      <a:pt x="5300" y="30475"/>
                      <a:pt x="5300" y="30506"/>
                    </a:cubicBezTo>
                    <a:cubicBezTo>
                      <a:pt x="5082" y="30132"/>
                      <a:pt x="5160" y="25830"/>
                      <a:pt x="4739" y="27498"/>
                    </a:cubicBezTo>
                    <a:cubicBezTo>
                      <a:pt x="4739" y="27498"/>
                      <a:pt x="4739" y="27311"/>
                      <a:pt x="4739" y="27264"/>
                    </a:cubicBezTo>
                    <a:cubicBezTo>
                      <a:pt x="4739" y="27217"/>
                      <a:pt x="4739" y="27264"/>
                      <a:pt x="4739" y="27342"/>
                    </a:cubicBezTo>
                    <a:cubicBezTo>
                      <a:pt x="4739" y="27420"/>
                      <a:pt x="4739" y="27124"/>
                      <a:pt x="4598" y="27030"/>
                    </a:cubicBezTo>
                    <a:cubicBezTo>
                      <a:pt x="4458" y="26937"/>
                      <a:pt x="4598" y="27030"/>
                      <a:pt x="4598" y="27030"/>
                    </a:cubicBezTo>
                    <a:lnTo>
                      <a:pt x="4598" y="27030"/>
                    </a:lnTo>
                    <a:cubicBezTo>
                      <a:pt x="4598" y="27030"/>
                      <a:pt x="4598" y="26874"/>
                      <a:pt x="4598" y="26812"/>
                    </a:cubicBezTo>
                    <a:cubicBezTo>
                      <a:pt x="4598" y="26749"/>
                      <a:pt x="4598" y="26921"/>
                      <a:pt x="4598" y="26968"/>
                    </a:cubicBezTo>
                    <a:cubicBezTo>
                      <a:pt x="4598" y="26734"/>
                      <a:pt x="4489" y="26469"/>
                      <a:pt x="4396" y="26235"/>
                    </a:cubicBezTo>
                    <a:cubicBezTo>
                      <a:pt x="4396" y="26313"/>
                      <a:pt x="4396" y="26391"/>
                      <a:pt x="4396" y="26484"/>
                    </a:cubicBezTo>
                    <a:cubicBezTo>
                      <a:pt x="4256" y="26095"/>
                      <a:pt x="4240" y="25674"/>
                      <a:pt x="4131" y="25269"/>
                    </a:cubicBezTo>
                    <a:cubicBezTo>
                      <a:pt x="4131" y="25347"/>
                      <a:pt x="4131" y="25269"/>
                      <a:pt x="4131" y="25175"/>
                    </a:cubicBezTo>
                    <a:cubicBezTo>
                      <a:pt x="4131" y="25082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4131" y="25175"/>
                      <a:pt x="4131" y="25175"/>
                      <a:pt x="4131" y="25175"/>
                    </a:cubicBezTo>
                    <a:cubicBezTo>
                      <a:pt x="3941" y="24764"/>
                      <a:pt x="3835" y="24318"/>
                      <a:pt x="3819" y="23866"/>
                    </a:cubicBezTo>
                    <a:cubicBezTo>
                      <a:pt x="3828" y="23928"/>
                      <a:pt x="3828" y="23991"/>
                      <a:pt x="3819" y="24053"/>
                    </a:cubicBezTo>
                    <a:cubicBezTo>
                      <a:pt x="3828" y="23991"/>
                      <a:pt x="3828" y="23928"/>
                      <a:pt x="3819" y="23866"/>
                    </a:cubicBez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866"/>
                    </a:cubicBezTo>
                    <a:lnTo>
                      <a:pt x="3819" y="23866"/>
                    </a:lnTo>
                    <a:lnTo>
                      <a:pt x="3819" y="23866"/>
                    </a:lnTo>
                    <a:cubicBezTo>
                      <a:pt x="3819" y="23866"/>
                      <a:pt x="3819" y="23866"/>
                      <a:pt x="3819" y="23959"/>
                    </a:cubicBezTo>
                    <a:cubicBezTo>
                      <a:pt x="3819" y="24053"/>
                      <a:pt x="3819" y="23959"/>
                      <a:pt x="3819" y="23959"/>
                    </a:cubicBezTo>
                    <a:lnTo>
                      <a:pt x="3819" y="23959"/>
                    </a:lnTo>
                    <a:lnTo>
                      <a:pt x="3819" y="23959"/>
                    </a:lnTo>
                    <a:cubicBezTo>
                      <a:pt x="3819" y="23881"/>
                      <a:pt x="3819" y="23772"/>
                      <a:pt x="3819" y="23679"/>
                    </a:cubicBezTo>
                    <a:lnTo>
                      <a:pt x="3819" y="23679"/>
                    </a:lnTo>
                    <a:cubicBezTo>
                      <a:pt x="3811" y="23627"/>
                      <a:pt x="3811" y="23574"/>
                      <a:pt x="3819" y="23523"/>
                    </a:cubicBezTo>
                    <a:lnTo>
                      <a:pt x="3819" y="23523"/>
                    </a:lnTo>
                    <a:cubicBezTo>
                      <a:pt x="3803" y="23305"/>
                      <a:pt x="3803" y="23086"/>
                      <a:pt x="3819" y="22868"/>
                    </a:cubicBezTo>
                    <a:lnTo>
                      <a:pt x="3819" y="22868"/>
                    </a:lnTo>
                    <a:cubicBezTo>
                      <a:pt x="3819" y="22868"/>
                      <a:pt x="3819" y="22790"/>
                      <a:pt x="3819" y="22759"/>
                    </a:cubicBezTo>
                    <a:lnTo>
                      <a:pt x="3819" y="22759"/>
                    </a:lnTo>
                    <a:cubicBezTo>
                      <a:pt x="4323" y="14291"/>
                      <a:pt x="9917" y="6976"/>
                      <a:pt x="17957" y="4271"/>
                    </a:cubicBezTo>
                    <a:lnTo>
                      <a:pt x="17957" y="4271"/>
                    </a:lnTo>
                    <a:lnTo>
                      <a:pt x="18145" y="4271"/>
                    </a:lnTo>
                    <a:lnTo>
                      <a:pt x="18145" y="4271"/>
                    </a:lnTo>
                    <a:lnTo>
                      <a:pt x="18347" y="4271"/>
                    </a:lnTo>
                    <a:lnTo>
                      <a:pt x="18207" y="4271"/>
                    </a:lnTo>
                    <a:lnTo>
                      <a:pt x="18456" y="4271"/>
                    </a:lnTo>
                    <a:lnTo>
                      <a:pt x="18363" y="4271"/>
                    </a:lnTo>
                    <a:lnTo>
                      <a:pt x="18363" y="4271"/>
                    </a:lnTo>
                    <a:lnTo>
                      <a:pt x="18534" y="4271"/>
                    </a:lnTo>
                    <a:lnTo>
                      <a:pt x="18534" y="4271"/>
                    </a:lnTo>
                    <a:lnTo>
                      <a:pt x="19703" y="4006"/>
                    </a:lnTo>
                    <a:lnTo>
                      <a:pt x="19703" y="4006"/>
                    </a:lnTo>
                    <a:lnTo>
                      <a:pt x="20000" y="4006"/>
                    </a:lnTo>
                    <a:lnTo>
                      <a:pt x="19797" y="4006"/>
                    </a:lnTo>
                    <a:lnTo>
                      <a:pt x="19797" y="4006"/>
                    </a:lnTo>
                    <a:lnTo>
                      <a:pt x="20342" y="4006"/>
                    </a:lnTo>
                    <a:lnTo>
                      <a:pt x="20342" y="4006"/>
                    </a:lnTo>
                    <a:lnTo>
                      <a:pt x="20062" y="4006"/>
                    </a:lnTo>
                    <a:lnTo>
                      <a:pt x="20327" y="4006"/>
                    </a:lnTo>
                    <a:lnTo>
                      <a:pt x="20327" y="4006"/>
                    </a:lnTo>
                    <a:lnTo>
                      <a:pt x="20592" y="4006"/>
                    </a:lnTo>
                    <a:lnTo>
                      <a:pt x="20498" y="4006"/>
                    </a:lnTo>
                    <a:lnTo>
                      <a:pt x="20405" y="4006"/>
                    </a:lnTo>
                    <a:lnTo>
                      <a:pt x="20623" y="4006"/>
                    </a:lnTo>
                    <a:lnTo>
                      <a:pt x="20280" y="4006"/>
                    </a:lnTo>
                    <a:lnTo>
                      <a:pt x="20187" y="4006"/>
                    </a:lnTo>
                    <a:lnTo>
                      <a:pt x="20015" y="4006"/>
                    </a:lnTo>
                    <a:lnTo>
                      <a:pt x="20342" y="4006"/>
                    </a:lnTo>
                    <a:lnTo>
                      <a:pt x="19984" y="4006"/>
                    </a:lnTo>
                    <a:lnTo>
                      <a:pt x="19984" y="4006"/>
                    </a:lnTo>
                    <a:lnTo>
                      <a:pt x="19610" y="4006"/>
                    </a:lnTo>
                    <a:lnTo>
                      <a:pt x="19610" y="4006"/>
                    </a:lnTo>
                    <a:lnTo>
                      <a:pt x="19251" y="4084"/>
                    </a:lnTo>
                    <a:lnTo>
                      <a:pt x="19407" y="4084"/>
                    </a:lnTo>
                    <a:lnTo>
                      <a:pt x="19407" y="4084"/>
                    </a:lnTo>
                    <a:cubicBezTo>
                      <a:pt x="19286" y="4123"/>
                      <a:pt x="19160" y="4150"/>
                      <a:pt x="19033" y="4162"/>
                    </a:cubicBezTo>
                    <a:lnTo>
                      <a:pt x="19189" y="4162"/>
                    </a:lnTo>
                    <a:lnTo>
                      <a:pt x="19017" y="4162"/>
                    </a:lnTo>
                    <a:lnTo>
                      <a:pt x="19017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lnTo>
                      <a:pt x="18908" y="4162"/>
                    </a:lnTo>
                    <a:cubicBezTo>
                      <a:pt x="18908" y="4162"/>
                      <a:pt x="18908" y="4162"/>
                      <a:pt x="18908" y="4162"/>
                    </a:cubicBezTo>
                    <a:lnTo>
                      <a:pt x="18908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752" y="4162"/>
                    </a:lnTo>
                    <a:lnTo>
                      <a:pt x="18659" y="4162"/>
                    </a:lnTo>
                    <a:lnTo>
                      <a:pt x="18659" y="4162"/>
                    </a:lnTo>
                    <a:lnTo>
                      <a:pt x="18254" y="4271"/>
                    </a:lnTo>
                    <a:lnTo>
                      <a:pt x="18254" y="4271"/>
                    </a:lnTo>
                    <a:lnTo>
                      <a:pt x="17957" y="4380"/>
                    </a:lnTo>
                    <a:lnTo>
                      <a:pt x="17957" y="4380"/>
                    </a:lnTo>
                    <a:lnTo>
                      <a:pt x="17599" y="4489"/>
                    </a:lnTo>
                    <a:lnTo>
                      <a:pt x="17599" y="4489"/>
                    </a:lnTo>
                    <a:lnTo>
                      <a:pt x="17334" y="4676"/>
                    </a:lnTo>
                    <a:lnTo>
                      <a:pt x="17334" y="4676"/>
                    </a:lnTo>
                    <a:lnTo>
                      <a:pt x="17240" y="4676"/>
                    </a:lnTo>
                    <a:lnTo>
                      <a:pt x="17240" y="4676"/>
                    </a:lnTo>
                    <a:lnTo>
                      <a:pt x="16726" y="4864"/>
                    </a:lnTo>
                    <a:lnTo>
                      <a:pt x="16851" y="4864"/>
                    </a:lnTo>
                    <a:lnTo>
                      <a:pt x="16851" y="4864"/>
                    </a:lnTo>
                    <a:cubicBezTo>
                      <a:pt x="17028" y="4797"/>
                      <a:pt x="17211" y="4745"/>
                      <a:pt x="17396" y="4708"/>
                    </a:cubicBezTo>
                    <a:lnTo>
                      <a:pt x="17396" y="4708"/>
                    </a:lnTo>
                    <a:lnTo>
                      <a:pt x="17552" y="4708"/>
                    </a:lnTo>
                    <a:lnTo>
                      <a:pt x="17661" y="4708"/>
                    </a:lnTo>
                    <a:lnTo>
                      <a:pt x="17412" y="4708"/>
                    </a:lnTo>
                    <a:lnTo>
                      <a:pt x="17412" y="4708"/>
                    </a:lnTo>
                    <a:lnTo>
                      <a:pt x="17272" y="4708"/>
                    </a:lnTo>
                    <a:lnTo>
                      <a:pt x="17272" y="4708"/>
                    </a:lnTo>
                    <a:lnTo>
                      <a:pt x="17162" y="4708"/>
                    </a:lnTo>
                    <a:lnTo>
                      <a:pt x="17162" y="4708"/>
                    </a:lnTo>
                    <a:lnTo>
                      <a:pt x="17007" y="4708"/>
                    </a:lnTo>
                    <a:lnTo>
                      <a:pt x="17007" y="4708"/>
                    </a:lnTo>
                    <a:lnTo>
                      <a:pt x="17147" y="4708"/>
                    </a:lnTo>
                    <a:lnTo>
                      <a:pt x="17147" y="4708"/>
                    </a:lnTo>
                    <a:lnTo>
                      <a:pt x="17287" y="4708"/>
                    </a:lnTo>
                    <a:lnTo>
                      <a:pt x="17287" y="4708"/>
                    </a:lnTo>
                    <a:lnTo>
                      <a:pt x="17116" y="4708"/>
                    </a:lnTo>
                    <a:cubicBezTo>
                      <a:pt x="17240" y="4708"/>
                      <a:pt x="17599" y="4599"/>
                      <a:pt x="17272" y="4708"/>
                    </a:cubicBezTo>
                    <a:lnTo>
                      <a:pt x="17412" y="4708"/>
                    </a:lnTo>
                    <a:lnTo>
                      <a:pt x="17505" y="4708"/>
                    </a:lnTo>
                    <a:lnTo>
                      <a:pt x="17833" y="4614"/>
                    </a:lnTo>
                    <a:cubicBezTo>
                      <a:pt x="17472" y="4715"/>
                      <a:pt x="17118" y="4840"/>
                      <a:pt x="16773" y="4988"/>
                    </a:cubicBezTo>
                    <a:lnTo>
                      <a:pt x="16929" y="4988"/>
                    </a:lnTo>
                    <a:lnTo>
                      <a:pt x="16929" y="4988"/>
                    </a:lnTo>
                    <a:cubicBezTo>
                      <a:pt x="16929" y="4988"/>
                      <a:pt x="17116" y="4988"/>
                      <a:pt x="17007" y="4988"/>
                    </a:cubicBezTo>
                    <a:lnTo>
                      <a:pt x="17147" y="4988"/>
                    </a:lnTo>
                    <a:lnTo>
                      <a:pt x="17147" y="4988"/>
                    </a:lnTo>
                    <a:lnTo>
                      <a:pt x="17272" y="4988"/>
                    </a:lnTo>
                    <a:cubicBezTo>
                      <a:pt x="17178" y="4988"/>
                      <a:pt x="17069" y="4988"/>
                      <a:pt x="16991" y="5097"/>
                    </a:cubicBezTo>
                    <a:lnTo>
                      <a:pt x="16991" y="5097"/>
                    </a:lnTo>
                    <a:lnTo>
                      <a:pt x="16866" y="5097"/>
                    </a:lnTo>
                    <a:lnTo>
                      <a:pt x="16866" y="5097"/>
                    </a:lnTo>
                    <a:lnTo>
                      <a:pt x="16710" y="5097"/>
                    </a:lnTo>
                    <a:cubicBezTo>
                      <a:pt x="16793" y="5104"/>
                      <a:pt x="16877" y="5104"/>
                      <a:pt x="16960" y="5097"/>
                    </a:cubicBezTo>
                    <a:cubicBezTo>
                      <a:pt x="16695" y="5238"/>
                      <a:pt x="16367" y="5362"/>
                      <a:pt x="16103" y="5534"/>
                    </a:cubicBezTo>
                    <a:lnTo>
                      <a:pt x="16103" y="5534"/>
                    </a:lnTo>
                    <a:lnTo>
                      <a:pt x="15931" y="5627"/>
                    </a:lnTo>
                    <a:lnTo>
                      <a:pt x="16103" y="5627"/>
                    </a:lnTo>
                    <a:lnTo>
                      <a:pt x="16103" y="5627"/>
                    </a:lnTo>
                    <a:cubicBezTo>
                      <a:pt x="16103" y="5627"/>
                      <a:pt x="16103" y="5627"/>
                      <a:pt x="16103" y="5627"/>
                    </a:cubicBezTo>
                    <a:cubicBezTo>
                      <a:pt x="15934" y="5726"/>
                      <a:pt x="15756" y="5810"/>
                      <a:pt x="15573" y="5877"/>
                    </a:cubicBezTo>
                    <a:cubicBezTo>
                      <a:pt x="15573" y="5877"/>
                      <a:pt x="15573" y="5877"/>
                      <a:pt x="15573" y="5877"/>
                    </a:cubicBezTo>
                    <a:cubicBezTo>
                      <a:pt x="15573" y="5877"/>
                      <a:pt x="15479" y="5877"/>
                      <a:pt x="15463" y="5877"/>
                    </a:cubicBezTo>
                    <a:lnTo>
                      <a:pt x="15463" y="5877"/>
                    </a:lnTo>
                    <a:cubicBezTo>
                      <a:pt x="15406" y="5898"/>
                      <a:pt x="15353" y="5930"/>
                      <a:pt x="15308" y="5970"/>
                    </a:cubicBezTo>
                    <a:lnTo>
                      <a:pt x="15308" y="5970"/>
                    </a:lnTo>
                    <a:cubicBezTo>
                      <a:pt x="15308" y="5970"/>
                      <a:pt x="15089" y="6126"/>
                      <a:pt x="15183" y="6095"/>
                    </a:cubicBezTo>
                    <a:lnTo>
                      <a:pt x="15183" y="6095"/>
                    </a:lnTo>
                    <a:lnTo>
                      <a:pt x="15183" y="6095"/>
                    </a:lnTo>
                    <a:lnTo>
                      <a:pt x="15183" y="6095"/>
                    </a:lnTo>
                    <a:cubicBezTo>
                      <a:pt x="15183" y="6095"/>
                      <a:pt x="15183" y="6095"/>
                      <a:pt x="15183" y="6095"/>
                    </a:cubicBezTo>
                    <a:lnTo>
                      <a:pt x="15323" y="6095"/>
                    </a:lnTo>
                    <a:lnTo>
                      <a:pt x="15089" y="6220"/>
                    </a:lnTo>
                    <a:lnTo>
                      <a:pt x="15089" y="6220"/>
                    </a:lnTo>
                    <a:cubicBezTo>
                      <a:pt x="15089" y="6220"/>
                      <a:pt x="14933" y="6220"/>
                      <a:pt x="14871" y="6344"/>
                    </a:cubicBezTo>
                    <a:cubicBezTo>
                      <a:pt x="14809" y="6469"/>
                      <a:pt x="14980" y="6344"/>
                      <a:pt x="15027" y="6344"/>
                    </a:cubicBezTo>
                    <a:cubicBezTo>
                      <a:pt x="14873" y="6412"/>
                      <a:pt x="14727" y="6496"/>
                      <a:pt x="14590" y="6594"/>
                    </a:cubicBezTo>
                    <a:lnTo>
                      <a:pt x="14590" y="6594"/>
                    </a:lnTo>
                    <a:lnTo>
                      <a:pt x="14590" y="6594"/>
                    </a:lnTo>
                    <a:cubicBezTo>
                      <a:pt x="14808" y="6458"/>
                      <a:pt x="15037" y="6343"/>
                      <a:pt x="15276" y="6251"/>
                    </a:cubicBezTo>
                    <a:lnTo>
                      <a:pt x="15276" y="6251"/>
                    </a:lnTo>
                    <a:cubicBezTo>
                      <a:pt x="15276" y="6251"/>
                      <a:pt x="15276" y="6251"/>
                      <a:pt x="15276" y="6251"/>
                    </a:cubicBezTo>
                    <a:lnTo>
                      <a:pt x="15276" y="6251"/>
                    </a:lnTo>
                    <a:lnTo>
                      <a:pt x="15370" y="6251"/>
                    </a:lnTo>
                    <a:lnTo>
                      <a:pt x="15276" y="6251"/>
                    </a:lnTo>
                    <a:cubicBezTo>
                      <a:pt x="15276" y="6251"/>
                      <a:pt x="15417" y="6157"/>
                      <a:pt x="15479" y="6157"/>
                    </a:cubicBezTo>
                    <a:lnTo>
                      <a:pt x="15479" y="6157"/>
                    </a:lnTo>
                    <a:cubicBezTo>
                      <a:pt x="15479" y="6157"/>
                      <a:pt x="15713" y="6064"/>
                      <a:pt x="15573" y="6157"/>
                    </a:cubicBezTo>
                    <a:lnTo>
                      <a:pt x="15463" y="6157"/>
                    </a:lnTo>
                    <a:cubicBezTo>
                      <a:pt x="15494" y="6149"/>
                      <a:pt x="15526" y="6149"/>
                      <a:pt x="15557" y="6157"/>
                    </a:cubicBezTo>
                    <a:lnTo>
                      <a:pt x="15448" y="6157"/>
                    </a:lnTo>
                    <a:lnTo>
                      <a:pt x="15448" y="6157"/>
                    </a:lnTo>
                    <a:cubicBezTo>
                      <a:pt x="15448" y="6157"/>
                      <a:pt x="15448" y="6157"/>
                      <a:pt x="15323" y="6157"/>
                    </a:cubicBezTo>
                    <a:cubicBezTo>
                      <a:pt x="15198" y="6157"/>
                      <a:pt x="15495" y="6157"/>
                      <a:pt x="15432" y="6157"/>
                    </a:cubicBezTo>
                    <a:cubicBezTo>
                      <a:pt x="15522" y="6121"/>
                      <a:pt x="15623" y="6121"/>
                      <a:pt x="15713" y="6157"/>
                    </a:cubicBezTo>
                    <a:lnTo>
                      <a:pt x="15713" y="6157"/>
                    </a:lnTo>
                    <a:cubicBezTo>
                      <a:pt x="15541" y="6282"/>
                      <a:pt x="15339" y="6376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5152" y="6485"/>
                    </a:lnTo>
                    <a:cubicBezTo>
                      <a:pt x="15152" y="6485"/>
                      <a:pt x="15152" y="6485"/>
                      <a:pt x="15152" y="6485"/>
                    </a:cubicBezTo>
                    <a:lnTo>
                      <a:pt x="15152" y="6485"/>
                    </a:lnTo>
                    <a:lnTo>
                      <a:pt x="15152" y="6485"/>
                    </a:lnTo>
                    <a:lnTo>
                      <a:pt x="14933" y="6625"/>
                    </a:lnTo>
                    <a:lnTo>
                      <a:pt x="14933" y="6625"/>
                    </a:lnTo>
                    <a:cubicBezTo>
                      <a:pt x="14933" y="6625"/>
                      <a:pt x="14933" y="6625"/>
                      <a:pt x="14933" y="6703"/>
                    </a:cubicBezTo>
                    <a:lnTo>
                      <a:pt x="15074" y="6703"/>
                    </a:lnTo>
                    <a:lnTo>
                      <a:pt x="15074" y="6703"/>
                    </a:lnTo>
                    <a:lnTo>
                      <a:pt x="15074" y="6796"/>
                    </a:lnTo>
                    <a:cubicBezTo>
                      <a:pt x="15074" y="6796"/>
                      <a:pt x="15074" y="6796"/>
                      <a:pt x="15074" y="6796"/>
                    </a:cubicBezTo>
                    <a:lnTo>
                      <a:pt x="15074" y="6796"/>
                    </a:lnTo>
                    <a:cubicBezTo>
                      <a:pt x="15385" y="6594"/>
                      <a:pt x="15167" y="6796"/>
                      <a:pt x="15074" y="6890"/>
                    </a:cubicBezTo>
                    <a:cubicBezTo>
                      <a:pt x="15183" y="6890"/>
                      <a:pt x="15276" y="6703"/>
                      <a:pt x="15401" y="6656"/>
                    </a:cubicBezTo>
                    <a:lnTo>
                      <a:pt x="15401" y="6656"/>
                    </a:lnTo>
                    <a:cubicBezTo>
                      <a:pt x="15401" y="6656"/>
                      <a:pt x="15682" y="6485"/>
                      <a:pt x="15526" y="6656"/>
                    </a:cubicBezTo>
                    <a:lnTo>
                      <a:pt x="15650" y="6656"/>
                    </a:lnTo>
                    <a:lnTo>
                      <a:pt x="15557" y="6656"/>
                    </a:lnTo>
                    <a:cubicBezTo>
                      <a:pt x="15557" y="6656"/>
                      <a:pt x="15557" y="6656"/>
                      <a:pt x="15557" y="6656"/>
                    </a:cubicBezTo>
                    <a:cubicBezTo>
                      <a:pt x="15557" y="6656"/>
                      <a:pt x="15448" y="6656"/>
                      <a:pt x="15417" y="6750"/>
                    </a:cubicBezTo>
                    <a:lnTo>
                      <a:pt x="15417" y="6750"/>
                    </a:lnTo>
                    <a:cubicBezTo>
                      <a:pt x="15417" y="6750"/>
                      <a:pt x="15323" y="6750"/>
                      <a:pt x="15308" y="6750"/>
                    </a:cubicBezTo>
                    <a:cubicBezTo>
                      <a:pt x="15619" y="6641"/>
                      <a:pt x="15198" y="6750"/>
                      <a:pt x="15074" y="6874"/>
                    </a:cubicBezTo>
                    <a:lnTo>
                      <a:pt x="15074" y="6874"/>
                    </a:lnTo>
                    <a:lnTo>
                      <a:pt x="14902" y="6968"/>
                    </a:lnTo>
                    <a:lnTo>
                      <a:pt x="14902" y="6968"/>
                    </a:lnTo>
                    <a:lnTo>
                      <a:pt x="14778" y="6968"/>
                    </a:lnTo>
                    <a:cubicBezTo>
                      <a:pt x="14918" y="6968"/>
                      <a:pt x="14778" y="6968"/>
                      <a:pt x="14778" y="6968"/>
                    </a:cubicBezTo>
                    <a:lnTo>
                      <a:pt x="14778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lnTo>
                      <a:pt x="14637" y="6968"/>
                    </a:lnTo>
                    <a:cubicBezTo>
                      <a:pt x="14544" y="6968"/>
                      <a:pt x="14450" y="7108"/>
                      <a:pt x="14357" y="7139"/>
                    </a:cubicBezTo>
                    <a:cubicBezTo>
                      <a:pt x="14263" y="7171"/>
                      <a:pt x="14497" y="7046"/>
                      <a:pt x="14559" y="7030"/>
                    </a:cubicBezTo>
                    <a:cubicBezTo>
                      <a:pt x="14622" y="7015"/>
                      <a:pt x="14559" y="7030"/>
                      <a:pt x="14559" y="7030"/>
                    </a:cubicBezTo>
                    <a:cubicBezTo>
                      <a:pt x="14640" y="6992"/>
                      <a:pt x="14723" y="6961"/>
                      <a:pt x="14809" y="6937"/>
                    </a:cubicBezTo>
                    <a:lnTo>
                      <a:pt x="14700" y="6937"/>
                    </a:lnTo>
                    <a:cubicBezTo>
                      <a:pt x="14871" y="6859"/>
                      <a:pt x="15027" y="6734"/>
                      <a:pt x="15198" y="6672"/>
                    </a:cubicBezTo>
                    <a:lnTo>
                      <a:pt x="15198" y="6672"/>
                    </a:lnTo>
                    <a:lnTo>
                      <a:pt x="15198" y="6672"/>
                    </a:lnTo>
                    <a:cubicBezTo>
                      <a:pt x="15406" y="6614"/>
                      <a:pt x="15605" y="6531"/>
                      <a:pt x="15791" y="6422"/>
                    </a:cubicBezTo>
                    <a:cubicBezTo>
                      <a:pt x="15791" y="6422"/>
                      <a:pt x="15791" y="6422"/>
                      <a:pt x="15666" y="6422"/>
                    </a:cubicBezTo>
                    <a:lnTo>
                      <a:pt x="15666" y="6422"/>
                    </a:lnTo>
                    <a:cubicBezTo>
                      <a:pt x="15760" y="6422"/>
                      <a:pt x="16118" y="6204"/>
                      <a:pt x="15900" y="6344"/>
                    </a:cubicBezTo>
                    <a:cubicBezTo>
                      <a:pt x="16056" y="6344"/>
                      <a:pt x="16056" y="6189"/>
                      <a:pt x="16196" y="6142"/>
                    </a:cubicBezTo>
                    <a:cubicBezTo>
                      <a:pt x="16056" y="6142"/>
                      <a:pt x="16196" y="6142"/>
                      <a:pt x="16196" y="6142"/>
                    </a:cubicBezTo>
                    <a:lnTo>
                      <a:pt x="16196" y="6142"/>
                    </a:lnTo>
                    <a:cubicBezTo>
                      <a:pt x="16368" y="6015"/>
                      <a:pt x="16564" y="5925"/>
                      <a:pt x="16773" y="5877"/>
                    </a:cubicBezTo>
                    <a:lnTo>
                      <a:pt x="16773" y="5877"/>
                    </a:lnTo>
                    <a:cubicBezTo>
                      <a:pt x="16936" y="5775"/>
                      <a:pt x="17115" y="5701"/>
                      <a:pt x="17303" y="5659"/>
                    </a:cubicBezTo>
                    <a:lnTo>
                      <a:pt x="17162" y="5736"/>
                    </a:lnTo>
                    <a:cubicBezTo>
                      <a:pt x="17334" y="5736"/>
                      <a:pt x="17459" y="5581"/>
                      <a:pt x="17630" y="5549"/>
                    </a:cubicBezTo>
                    <a:lnTo>
                      <a:pt x="17459" y="5674"/>
                    </a:lnTo>
                    <a:cubicBezTo>
                      <a:pt x="18410" y="5097"/>
                      <a:pt x="20000" y="4536"/>
                      <a:pt x="18425" y="5362"/>
                    </a:cubicBezTo>
                    <a:cubicBezTo>
                      <a:pt x="18675" y="5284"/>
                      <a:pt x="19267" y="4910"/>
                      <a:pt x="19080" y="5129"/>
                    </a:cubicBezTo>
                    <a:cubicBezTo>
                      <a:pt x="19766" y="4895"/>
                      <a:pt x="18721" y="5456"/>
                      <a:pt x="18425" y="5581"/>
                    </a:cubicBezTo>
                    <a:cubicBezTo>
                      <a:pt x="18784" y="5456"/>
                      <a:pt x="18425" y="5581"/>
                      <a:pt x="18425" y="5581"/>
                    </a:cubicBezTo>
                    <a:cubicBezTo>
                      <a:pt x="18425" y="5581"/>
                      <a:pt x="18659" y="5425"/>
                      <a:pt x="18519" y="5581"/>
                    </a:cubicBezTo>
                    <a:cubicBezTo>
                      <a:pt x="18752" y="5316"/>
                      <a:pt x="18986" y="5581"/>
                      <a:pt x="18597" y="5659"/>
                    </a:cubicBezTo>
                    <a:cubicBezTo>
                      <a:pt x="18557" y="5643"/>
                      <a:pt x="18512" y="5643"/>
                      <a:pt x="18472" y="5659"/>
                    </a:cubicBezTo>
                    <a:cubicBezTo>
                      <a:pt x="18706" y="5659"/>
                      <a:pt x="18378" y="5736"/>
                      <a:pt x="18300" y="5768"/>
                    </a:cubicBezTo>
                    <a:cubicBezTo>
                      <a:pt x="18893" y="5581"/>
                      <a:pt x="17802" y="6033"/>
                      <a:pt x="18456" y="5768"/>
                    </a:cubicBezTo>
                    <a:cubicBezTo>
                      <a:pt x="17630" y="6126"/>
                      <a:pt x="18830" y="5768"/>
                      <a:pt x="18020" y="6095"/>
                    </a:cubicBezTo>
                    <a:cubicBezTo>
                      <a:pt x="18020" y="6189"/>
                      <a:pt x="18020" y="6095"/>
                      <a:pt x="18238" y="6095"/>
                    </a:cubicBezTo>
                    <a:cubicBezTo>
                      <a:pt x="18120" y="6184"/>
                      <a:pt x="17989" y="6252"/>
                      <a:pt x="17848" y="6298"/>
                    </a:cubicBezTo>
                    <a:cubicBezTo>
                      <a:pt x="17755" y="6298"/>
                      <a:pt x="18534" y="6298"/>
                      <a:pt x="17692" y="6485"/>
                    </a:cubicBezTo>
                    <a:cubicBezTo>
                      <a:pt x="17599" y="6485"/>
                      <a:pt x="18113" y="6485"/>
                      <a:pt x="17568" y="6594"/>
                    </a:cubicBezTo>
                    <a:cubicBezTo>
                      <a:pt x="18020" y="6438"/>
                      <a:pt x="18082" y="6594"/>
                      <a:pt x="17568" y="6672"/>
                    </a:cubicBezTo>
                    <a:cubicBezTo>
                      <a:pt x="17770" y="6843"/>
                      <a:pt x="17474" y="6890"/>
                      <a:pt x="17568" y="6828"/>
                    </a:cubicBezTo>
                    <a:cubicBezTo>
                      <a:pt x="17318" y="6828"/>
                      <a:pt x="17568" y="7030"/>
                      <a:pt x="17287" y="6921"/>
                    </a:cubicBezTo>
                    <a:cubicBezTo>
                      <a:pt x="17116" y="7217"/>
                      <a:pt x="17412" y="7046"/>
                      <a:pt x="17116" y="7186"/>
                    </a:cubicBezTo>
                    <a:cubicBezTo>
                      <a:pt x="17350" y="7108"/>
                      <a:pt x="16929" y="7436"/>
                      <a:pt x="17116" y="7295"/>
                    </a:cubicBezTo>
                    <a:cubicBezTo>
                      <a:pt x="16820" y="7591"/>
                      <a:pt x="17381" y="7124"/>
                      <a:pt x="16975" y="7623"/>
                    </a:cubicBezTo>
                    <a:cubicBezTo>
                      <a:pt x="16773" y="7732"/>
                      <a:pt x="17303" y="7623"/>
                      <a:pt x="16835" y="7794"/>
                    </a:cubicBezTo>
                    <a:cubicBezTo>
                      <a:pt x="17178" y="7654"/>
                      <a:pt x="16913" y="8137"/>
                      <a:pt x="16695" y="8012"/>
                    </a:cubicBezTo>
                    <a:cubicBezTo>
                      <a:pt x="16695" y="8137"/>
                      <a:pt x="16555" y="8231"/>
                      <a:pt x="16508" y="8137"/>
                    </a:cubicBezTo>
                    <a:cubicBezTo>
                      <a:pt x="16461" y="8044"/>
                      <a:pt x="16352" y="8309"/>
                      <a:pt x="16508" y="8137"/>
                    </a:cubicBezTo>
                    <a:cubicBezTo>
                      <a:pt x="16664" y="7966"/>
                      <a:pt x="16056" y="8574"/>
                      <a:pt x="16196" y="8309"/>
                    </a:cubicBezTo>
                    <a:cubicBezTo>
                      <a:pt x="16071" y="8137"/>
                      <a:pt x="16492" y="7903"/>
                      <a:pt x="16539" y="7810"/>
                    </a:cubicBezTo>
                    <a:cubicBezTo>
                      <a:pt x="16258" y="7966"/>
                      <a:pt x="16430" y="7810"/>
                      <a:pt x="16539" y="7654"/>
                    </a:cubicBezTo>
                    <a:cubicBezTo>
                      <a:pt x="16648" y="7498"/>
                      <a:pt x="16305" y="7841"/>
                      <a:pt x="16383" y="7654"/>
                    </a:cubicBezTo>
                    <a:cubicBezTo>
                      <a:pt x="16118" y="7903"/>
                      <a:pt x="15962" y="7934"/>
                      <a:pt x="15869" y="8309"/>
                    </a:cubicBezTo>
                    <a:cubicBezTo>
                      <a:pt x="15775" y="8683"/>
                      <a:pt x="15261" y="9135"/>
                      <a:pt x="15198" y="8932"/>
                    </a:cubicBezTo>
                    <a:cubicBezTo>
                      <a:pt x="15136" y="8729"/>
                      <a:pt x="15308" y="8823"/>
                      <a:pt x="15198" y="8527"/>
                    </a:cubicBezTo>
                    <a:cubicBezTo>
                      <a:pt x="14996" y="8885"/>
                      <a:pt x="14996" y="9353"/>
                      <a:pt x="14996" y="9353"/>
                    </a:cubicBezTo>
                    <a:cubicBezTo>
                      <a:pt x="14357" y="9493"/>
                      <a:pt x="15105" y="8262"/>
                      <a:pt x="15245" y="8231"/>
                    </a:cubicBezTo>
                    <a:cubicBezTo>
                      <a:pt x="14996" y="8324"/>
                      <a:pt x="15245" y="8231"/>
                      <a:pt x="15027" y="8231"/>
                    </a:cubicBezTo>
                    <a:cubicBezTo>
                      <a:pt x="15136" y="8075"/>
                      <a:pt x="14871" y="8309"/>
                      <a:pt x="14793" y="8231"/>
                    </a:cubicBezTo>
                    <a:cubicBezTo>
                      <a:pt x="14715" y="8153"/>
                      <a:pt x="15432" y="7607"/>
                      <a:pt x="15292" y="7981"/>
                    </a:cubicBezTo>
                    <a:cubicBezTo>
                      <a:pt x="16617" y="7701"/>
                      <a:pt x="17427" y="6422"/>
                      <a:pt x="17724" y="6111"/>
                    </a:cubicBezTo>
                    <a:cubicBezTo>
                      <a:pt x="17272" y="6485"/>
                      <a:pt x="17396" y="6111"/>
                      <a:pt x="17225" y="6111"/>
                    </a:cubicBezTo>
                    <a:cubicBezTo>
                      <a:pt x="17053" y="6111"/>
                      <a:pt x="17459" y="5970"/>
                      <a:pt x="17225" y="5955"/>
                    </a:cubicBezTo>
                    <a:cubicBezTo>
                      <a:pt x="17427" y="5736"/>
                      <a:pt x="17225" y="5955"/>
                      <a:pt x="17225" y="5783"/>
                    </a:cubicBezTo>
                    <a:lnTo>
                      <a:pt x="17318" y="5783"/>
                    </a:lnTo>
                    <a:lnTo>
                      <a:pt x="17178" y="5861"/>
                    </a:lnTo>
                    <a:cubicBezTo>
                      <a:pt x="16944" y="5970"/>
                      <a:pt x="16726" y="6111"/>
                      <a:pt x="16492" y="6235"/>
                    </a:cubicBezTo>
                    <a:lnTo>
                      <a:pt x="16492" y="6235"/>
                    </a:lnTo>
                    <a:lnTo>
                      <a:pt x="16601" y="6235"/>
                    </a:lnTo>
                    <a:lnTo>
                      <a:pt x="16555" y="6235"/>
                    </a:lnTo>
                    <a:lnTo>
                      <a:pt x="16555" y="6235"/>
                    </a:lnTo>
                    <a:cubicBezTo>
                      <a:pt x="16555" y="6313"/>
                      <a:pt x="16321" y="6235"/>
                      <a:pt x="16243" y="6376"/>
                    </a:cubicBezTo>
                    <a:lnTo>
                      <a:pt x="16243" y="6376"/>
                    </a:lnTo>
                    <a:lnTo>
                      <a:pt x="16243" y="6376"/>
                    </a:lnTo>
                    <a:lnTo>
                      <a:pt x="16336" y="6376"/>
                    </a:lnTo>
                    <a:cubicBezTo>
                      <a:pt x="16336" y="6376"/>
                      <a:pt x="16336" y="6376"/>
                      <a:pt x="16336" y="6376"/>
                    </a:cubicBezTo>
                    <a:lnTo>
                      <a:pt x="16336" y="6376"/>
                    </a:lnTo>
                    <a:cubicBezTo>
                      <a:pt x="16336" y="6376"/>
                      <a:pt x="16227" y="6376"/>
                      <a:pt x="16180" y="6376"/>
                    </a:cubicBezTo>
                    <a:lnTo>
                      <a:pt x="16180" y="6376"/>
                    </a:lnTo>
                    <a:lnTo>
                      <a:pt x="16180" y="6376"/>
                    </a:lnTo>
                    <a:cubicBezTo>
                      <a:pt x="15993" y="6516"/>
                      <a:pt x="15791" y="6625"/>
                      <a:pt x="15588" y="6750"/>
                    </a:cubicBezTo>
                    <a:lnTo>
                      <a:pt x="15822" y="6656"/>
                    </a:lnTo>
                    <a:lnTo>
                      <a:pt x="15822" y="6656"/>
                    </a:lnTo>
                    <a:lnTo>
                      <a:pt x="16212" y="6454"/>
                    </a:lnTo>
                    <a:cubicBezTo>
                      <a:pt x="16065" y="6587"/>
                      <a:pt x="15903" y="6702"/>
                      <a:pt x="15728" y="6796"/>
                    </a:cubicBezTo>
                    <a:lnTo>
                      <a:pt x="15728" y="6796"/>
                    </a:lnTo>
                    <a:cubicBezTo>
                      <a:pt x="15496" y="6904"/>
                      <a:pt x="15285" y="7052"/>
                      <a:pt x="15105" y="7233"/>
                    </a:cubicBezTo>
                    <a:cubicBezTo>
                      <a:pt x="15105" y="7233"/>
                      <a:pt x="15198" y="7155"/>
                      <a:pt x="15245" y="7155"/>
                    </a:cubicBezTo>
                    <a:lnTo>
                      <a:pt x="15245" y="7155"/>
                    </a:lnTo>
                    <a:lnTo>
                      <a:pt x="16040" y="6750"/>
                    </a:lnTo>
                    <a:lnTo>
                      <a:pt x="16040" y="6750"/>
                    </a:lnTo>
                    <a:lnTo>
                      <a:pt x="16040" y="6750"/>
                    </a:lnTo>
                    <a:cubicBezTo>
                      <a:pt x="16040" y="6750"/>
                      <a:pt x="16040" y="6656"/>
                      <a:pt x="16165" y="6672"/>
                    </a:cubicBezTo>
                    <a:lnTo>
                      <a:pt x="16165" y="6672"/>
                    </a:lnTo>
                    <a:cubicBezTo>
                      <a:pt x="16165" y="6672"/>
                      <a:pt x="16165" y="6672"/>
                      <a:pt x="16274" y="6672"/>
                    </a:cubicBezTo>
                    <a:lnTo>
                      <a:pt x="16274" y="6672"/>
                    </a:lnTo>
                    <a:lnTo>
                      <a:pt x="16664" y="6454"/>
                    </a:lnTo>
                    <a:cubicBezTo>
                      <a:pt x="16664" y="6454"/>
                      <a:pt x="16664" y="6454"/>
                      <a:pt x="16664" y="6594"/>
                    </a:cubicBezTo>
                    <a:lnTo>
                      <a:pt x="16664" y="6594"/>
                    </a:lnTo>
                    <a:cubicBezTo>
                      <a:pt x="16645" y="6644"/>
                      <a:pt x="16605" y="6684"/>
                      <a:pt x="16555" y="6703"/>
                    </a:cubicBezTo>
                    <a:cubicBezTo>
                      <a:pt x="16555" y="6625"/>
                      <a:pt x="16555" y="6781"/>
                      <a:pt x="16430" y="6796"/>
                    </a:cubicBezTo>
                    <a:cubicBezTo>
                      <a:pt x="16305" y="6812"/>
                      <a:pt x="16305" y="6921"/>
                      <a:pt x="16243" y="6921"/>
                    </a:cubicBezTo>
                    <a:cubicBezTo>
                      <a:pt x="16180" y="6921"/>
                      <a:pt x="16243" y="6921"/>
                      <a:pt x="16243" y="6921"/>
                    </a:cubicBezTo>
                    <a:lnTo>
                      <a:pt x="16243" y="6921"/>
                    </a:lnTo>
                    <a:cubicBezTo>
                      <a:pt x="16243" y="6921"/>
                      <a:pt x="15978" y="7046"/>
                      <a:pt x="16056" y="6921"/>
                    </a:cubicBezTo>
                    <a:lnTo>
                      <a:pt x="16056" y="6921"/>
                    </a:lnTo>
                    <a:cubicBezTo>
                      <a:pt x="16056" y="6921"/>
                      <a:pt x="16056" y="6999"/>
                      <a:pt x="15915" y="7015"/>
                    </a:cubicBezTo>
                    <a:lnTo>
                      <a:pt x="15915" y="7015"/>
                    </a:lnTo>
                    <a:cubicBezTo>
                      <a:pt x="15915" y="7015"/>
                      <a:pt x="15806" y="7015"/>
                      <a:pt x="15915" y="7015"/>
                    </a:cubicBezTo>
                    <a:cubicBezTo>
                      <a:pt x="15629" y="7264"/>
                      <a:pt x="15287" y="7441"/>
                      <a:pt x="14918" y="7529"/>
                    </a:cubicBezTo>
                    <a:cubicBezTo>
                      <a:pt x="14943" y="7513"/>
                      <a:pt x="14969" y="7497"/>
                      <a:pt x="14996" y="7482"/>
                    </a:cubicBezTo>
                    <a:lnTo>
                      <a:pt x="14996" y="7482"/>
                    </a:lnTo>
                    <a:lnTo>
                      <a:pt x="15120" y="7373"/>
                    </a:lnTo>
                    <a:lnTo>
                      <a:pt x="15120" y="7373"/>
                    </a:lnTo>
                    <a:cubicBezTo>
                      <a:pt x="15120" y="7373"/>
                      <a:pt x="14965" y="7451"/>
                      <a:pt x="15120" y="7373"/>
                    </a:cubicBezTo>
                    <a:cubicBezTo>
                      <a:pt x="15026" y="7487"/>
                      <a:pt x="14916" y="7587"/>
                      <a:pt x="14793" y="7669"/>
                    </a:cubicBezTo>
                    <a:lnTo>
                      <a:pt x="14887" y="7529"/>
                    </a:lnTo>
                    <a:cubicBezTo>
                      <a:pt x="14887" y="7529"/>
                      <a:pt x="14887" y="7607"/>
                      <a:pt x="14778" y="7623"/>
                    </a:cubicBezTo>
                    <a:cubicBezTo>
                      <a:pt x="14668" y="7638"/>
                      <a:pt x="14778" y="7623"/>
                      <a:pt x="14778" y="7623"/>
                    </a:cubicBezTo>
                    <a:lnTo>
                      <a:pt x="14778" y="7623"/>
                    </a:lnTo>
                    <a:lnTo>
                      <a:pt x="14918" y="7514"/>
                    </a:lnTo>
                    <a:cubicBezTo>
                      <a:pt x="14918" y="7514"/>
                      <a:pt x="14824" y="7514"/>
                      <a:pt x="14918" y="7514"/>
                    </a:cubicBezTo>
                    <a:lnTo>
                      <a:pt x="14918" y="7514"/>
                    </a:lnTo>
                    <a:lnTo>
                      <a:pt x="14918" y="7514"/>
                    </a:lnTo>
                    <a:cubicBezTo>
                      <a:pt x="14757" y="7658"/>
                      <a:pt x="14572" y="7774"/>
                      <a:pt x="14372" y="7856"/>
                    </a:cubicBezTo>
                    <a:lnTo>
                      <a:pt x="14372" y="7856"/>
                    </a:lnTo>
                    <a:cubicBezTo>
                      <a:pt x="14076" y="8028"/>
                      <a:pt x="14372" y="7732"/>
                      <a:pt x="14372" y="7591"/>
                    </a:cubicBezTo>
                    <a:cubicBezTo>
                      <a:pt x="14107" y="7747"/>
                      <a:pt x="14170" y="8028"/>
                      <a:pt x="13873" y="8106"/>
                    </a:cubicBezTo>
                    <a:lnTo>
                      <a:pt x="13873" y="8106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468" y="8293"/>
                    </a:cubicBezTo>
                    <a:lnTo>
                      <a:pt x="13468" y="8293"/>
                    </a:lnTo>
                    <a:lnTo>
                      <a:pt x="13468" y="8293"/>
                    </a:lnTo>
                    <a:cubicBezTo>
                      <a:pt x="13468" y="8293"/>
                      <a:pt x="13468" y="8293"/>
                      <a:pt x="13577" y="8199"/>
                    </a:cubicBezTo>
                    <a:cubicBezTo>
                      <a:pt x="13686" y="8106"/>
                      <a:pt x="13468" y="8199"/>
                      <a:pt x="13437" y="8277"/>
                    </a:cubicBezTo>
                    <a:cubicBezTo>
                      <a:pt x="13475" y="8255"/>
                      <a:pt x="13508" y="8223"/>
                      <a:pt x="13530" y="8184"/>
                    </a:cubicBezTo>
                    <a:cubicBezTo>
                      <a:pt x="13530" y="8184"/>
                      <a:pt x="13172" y="8480"/>
                      <a:pt x="13328" y="8293"/>
                    </a:cubicBezTo>
                    <a:lnTo>
                      <a:pt x="13188" y="8402"/>
                    </a:lnTo>
                    <a:cubicBezTo>
                      <a:pt x="13251" y="8269"/>
                      <a:pt x="13329" y="8143"/>
                      <a:pt x="13421" y="8028"/>
                    </a:cubicBezTo>
                    <a:lnTo>
                      <a:pt x="13421" y="8028"/>
                    </a:lnTo>
                    <a:lnTo>
                      <a:pt x="13421" y="8028"/>
                    </a:lnTo>
                    <a:lnTo>
                      <a:pt x="13343" y="8121"/>
                    </a:lnTo>
                    <a:cubicBezTo>
                      <a:pt x="13530" y="7981"/>
                      <a:pt x="13250" y="8293"/>
                      <a:pt x="13203" y="8277"/>
                    </a:cubicBezTo>
                    <a:lnTo>
                      <a:pt x="13328" y="8277"/>
                    </a:lnTo>
                    <a:cubicBezTo>
                      <a:pt x="13203" y="8496"/>
                      <a:pt x="12704" y="8761"/>
                      <a:pt x="13078" y="8277"/>
                    </a:cubicBezTo>
                    <a:cubicBezTo>
                      <a:pt x="12954" y="8355"/>
                      <a:pt x="12891" y="8496"/>
                      <a:pt x="12782" y="8574"/>
                    </a:cubicBez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782" y="8574"/>
                    </a:lnTo>
                    <a:lnTo>
                      <a:pt x="12642" y="8698"/>
                    </a:lnTo>
                    <a:cubicBezTo>
                      <a:pt x="12642" y="8698"/>
                      <a:pt x="12642" y="8698"/>
                      <a:pt x="12642" y="8698"/>
                    </a:cubicBezTo>
                    <a:cubicBezTo>
                      <a:pt x="12642" y="8698"/>
                      <a:pt x="12533" y="8698"/>
                      <a:pt x="12502" y="8698"/>
                    </a:cubicBezTo>
                    <a:cubicBezTo>
                      <a:pt x="12470" y="8698"/>
                      <a:pt x="12034" y="8994"/>
                      <a:pt x="11909" y="9026"/>
                    </a:cubicBezTo>
                    <a:lnTo>
                      <a:pt x="11909" y="9026"/>
                    </a:lnTo>
                    <a:cubicBezTo>
                      <a:pt x="11559" y="9339"/>
                      <a:pt x="11189" y="9631"/>
                      <a:pt x="10803" y="9899"/>
                    </a:cubicBezTo>
                    <a:cubicBezTo>
                      <a:pt x="11707" y="9306"/>
                      <a:pt x="10662" y="10351"/>
                      <a:pt x="10460" y="10351"/>
                    </a:cubicBezTo>
                    <a:cubicBezTo>
                      <a:pt x="10865" y="10351"/>
                      <a:pt x="10647" y="10694"/>
                      <a:pt x="10460" y="10974"/>
                    </a:cubicBezTo>
                    <a:lnTo>
                      <a:pt x="10460" y="10974"/>
                    </a:lnTo>
                    <a:cubicBezTo>
                      <a:pt x="10447" y="11120"/>
                      <a:pt x="10410" y="11262"/>
                      <a:pt x="10350" y="11395"/>
                    </a:cubicBezTo>
                    <a:cubicBezTo>
                      <a:pt x="10460" y="11395"/>
                      <a:pt x="10444" y="11520"/>
                      <a:pt x="10553" y="11520"/>
                    </a:cubicBezTo>
                    <a:lnTo>
                      <a:pt x="10553" y="11520"/>
                    </a:lnTo>
                    <a:cubicBezTo>
                      <a:pt x="10113" y="11959"/>
                      <a:pt x="9735" y="12458"/>
                      <a:pt x="9431" y="13001"/>
                    </a:cubicBezTo>
                    <a:cubicBezTo>
                      <a:pt x="9618" y="13001"/>
                      <a:pt x="9571" y="13001"/>
                      <a:pt x="9758" y="12876"/>
                    </a:cubicBezTo>
                    <a:cubicBezTo>
                      <a:pt x="9758" y="12954"/>
                      <a:pt x="9571" y="13110"/>
                      <a:pt x="9665" y="13172"/>
                    </a:cubicBezTo>
                    <a:cubicBezTo>
                      <a:pt x="10043" y="12406"/>
                      <a:pt x="10669" y="11791"/>
                      <a:pt x="11442" y="11426"/>
                    </a:cubicBezTo>
                    <a:cubicBezTo>
                      <a:pt x="11894" y="10912"/>
                      <a:pt x="12237" y="10288"/>
                      <a:pt x="12704" y="10117"/>
                    </a:cubicBezTo>
                    <a:lnTo>
                      <a:pt x="12704" y="10117"/>
                    </a:lnTo>
                    <a:cubicBezTo>
                      <a:pt x="12782" y="10117"/>
                      <a:pt x="12813" y="9961"/>
                      <a:pt x="12891" y="9961"/>
                    </a:cubicBezTo>
                    <a:cubicBezTo>
                      <a:pt x="12969" y="9961"/>
                      <a:pt x="12891" y="9867"/>
                      <a:pt x="13000" y="9852"/>
                    </a:cubicBezTo>
                    <a:cubicBezTo>
                      <a:pt x="13110" y="9836"/>
                      <a:pt x="14060" y="8901"/>
                      <a:pt x="13686" y="9446"/>
                    </a:cubicBezTo>
                    <a:cubicBezTo>
                      <a:pt x="13686" y="9446"/>
                      <a:pt x="13842" y="9446"/>
                      <a:pt x="13795" y="9446"/>
                    </a:cubicBezTo>
                    <a:lnTo>
                      <a:pt x="13795" y="9446"/>
                    </a:lnTo>
                    <a:cubicBezTo>
                      <a:pt x="14076" y="9446"/>
                      <a:pt x="13795" y="9446"/>
                      <a:pt x="13889" y="9587"/>
                    </a:cubicBezTo>
                    <a:cubicBezTo>
                      <a:pt x="13983" y="9727"/>
                      <a:pt x="13795" y="9665"/>
                      <a:pt x="13764" y="9711"/>
                    </a:cubicBezTo>
                    <a:lnTo>
                      <a:pt x="13764" y="9711"/>
                    </a:lnTo>
                    <a:cubicBezTo>
                      <a:pt x="13764" y="9711"/>
                      <a:pt x="13764" y="9805"/>
                      <a:pt x="13764" y="9852"/>
                    </a:cubicBezTo>
                    <a:lnTo>
                      <a:pt x="13764" y="9852"/>
                    </a:lnTo>
                    <a:cubicBezTo>
                      <a:pt x="13764" y="9852"/>
                      <a:pt x="13764" y="9930"/>
                      <a:pt x="13764" y="9930"/>
                    </a:cubicBezTo>
                    <a:lnTo>
                      <a:pt x="13764" y="9930"/>
                    </a:lnTo>
                    <a:cubicBezTo>
                      <a:pt x="13764" y="9930"/>
                      <a:pt x="13764" y="10008"/>
                      <a:pt x="13655" y="10054"/>
                    </a:cubicBez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lnTo>
                      <a:pt x="13655" y="10054"/>
                    </a:lnTo>
                    <a:cubicBezTo>
                      <a:pt x="13795" y="10054"/>
                      <a:pt x="13655" y="10132"/>
                      <a:pt x="13655" y="10179"/>
                    </a:cubicBezTo>
                    <a:cubicBezTo>
                      <a:pt x="13655" y="10226"/>
                      <a:pt x="13749" y="10086"/>
                      <a:pt x="13795" y="10101"/>
                    </a:cubicBezTo>
                    <a:cubicBezTo>
                      <a:pt x="13842" y="10117"/>
                      <a:pt x="13530" y="10288"/>
                      <a:pt x="13421" y="10444"/>
                    </a:cubicBezTo>
                    <a:lnTo>
                      <a:pt x="13421" y="10444"/>
                    </a:lnTo>
                    <a:cubicBezTo>
                      <a:pt x="13421" y="10444"/>
                      <a:pt x="13297" y="10553"/>
                      <a:pt x="13234" y="10444"/>
                    </a:cubicBezTo>
                    <a:cubicBezTo>
                      <a:pt x="13406" y="10600"/>
                      <a:pt x="12985" y="10927"/>
                      <a:pt x="13000" y="10881"/>
                    </a:cubicBezTo>
                    <a:cubicBezTo>
                      <a:pt x="13016" y="10834"/>
                      <a:pt x="13000" y="11021"/>
                      <a:pt x="13000" y="10881"/>
                    </a:cubicBezTo>
                    <a:cubicBezTo>
                      <a:pt x="13000" y="10740"/>
                      <a:pt x="12813" y="11130"/>
                      <a:pt x="12720" y="11224"/>
                    </a:cubicBezTo>
                    <a:cubicBezTo>
                      <a:pt x="12969" y="11052"/>
                      <a:pt x="13032" y="11021"/>
                      <a:pt x="12720" y="11224"/>
                    </a:cubicBezTo>
                    <a:cubicBezTo>
                      <a:pt x="12720" y="11224"/>
                      <a:pt x="12985" y="11005"/>
                      <a:pt x="12985" y="11099"/>
                    </a:cubicBezTo>
                    <a:cubicBezTo>
                      <a:pt x="12985" y="11192"/>
                      <a:pt x="13125" y="10990"/>
                      <a:pt x="13203" y="10959"/>
                    </a:cubicBezTo>
                    <a:cubicBezTo>
                      <a:pt x="13217" y="11010"/>
                      <a:pt x="13217" y="11063"/>
                      <a:pt x="13203" y="11114"/>
                    </a:cubicBezTo>
                    <a:cubicBezTo>
                      <a:pt x="13203" y="11037"/>
                      <a:pt x="13577" y="10709"/>
                      <a:pt x="13608" y="10818"/>
                    </a:cubicBezTo>
                    <a:cubicBezTo>
                      <a:pt x="13640" y="10927"/>
                      <a:pt x="13608" y="10818"/>
                      <a:pt x="13608" y="10818"/>
                    </a:cubicBezTo>
                    <a:cubicBezTo>
                      <a:pt x="13608" y="10818"/>
                      <a:pt x="13608" y="10725"/>
                      <a:pt x="13733" y="10725"/>
                    </a:cubicBezTo>
                    <a:lnTo>
                      <a:pt x="13733" y="10725"/>
                    </a:lnTo>
                    <a:cubicBezTo>
                      <a:pt x="13733" y="10647"/>
                      <a:pt x="14138" y="10397"/>
                      <a:pt x="14014" y="10507"/>
                    </a:cubicBezTo>
                    <a:lnTo>
                      <a:pt x="14014" y="10507"/>
                    </a:lnTo>
                    <a:cubicBezTo>
                      <a:pt x="14014" y="10507"/>
                      <a:pt x="14014" y="10616"/>
                      <a:pt x="13905" y="10616"/>
                    </a:cubicBezTo>
                    <a:cubicBezTo>
                      <a:pt x="13795" y="10616"/>
                      <a:pt x="13905" y="10616"/>
                      <a:pt x="13905" y="10694"/>
                    </a:cubicBezTo>
                    <a:lnTo>
                      <a:pt x="13905" y="10694"/>
                    </a:lnTo>
                    <a:cubicBezTo>
                      <a:pt x="13811" y="10694"/>
                      <a:pt x="13905" y="10849"/>
                      <a:pt x="13749" y="10896"/>
                    </a:cubicBezTo>
                    <a:cubicBezTo>
                      <a:pt x="13593" y="10943"/>
                      <a:pt x="13749" y="11005"/>
                      <a:pt x="13749" y="10896"/>
                    </a:cubicBezTo>
                    <a:cubicBezTo>
                      <a:pt x="13749" y="10787"/>
                      <a:pt x="13421" y="11037"/>
                      <a:pt x="13749" y="11021"/>
                    </a:cubicBezTo>
                    <a:cubicBezTo>
                      <a:pt x="14076" y="11005"/>
                      <a:pt x="13577" y="11161"/>
                      <a:pt x="13749" y="11114"/>
                    </a:cubicBezTo>
                    <a:cubicBezTo>
                      <a:pt x="13920" y="11068"/>
                      <a:pt x="13608" y="11270"/>
                      <a:pt x="13593" y="11114"/>
                    </a:cubicBezTo>
                    <a:cubicBezTo>
                      <a:pt x="13577" y="10959"/>
                      <a:pt x="13593" y="11192"/>
                      <a:pt x="13593" y="11208"/>
                    </a:cubicBezTo>
                    <a:cubicBezTo>
                      <a:pt x="13593" y="11224"/>
                      <a:pt x="13702" y="11208"/>
                      <a:pt x="13749" y="11208"/>
                    </a:cubicBezTo>
                    <a:cubicBezTo>
                      <a:pt x="13795" y="11208"/>
                      <a:pt x="13577" y="11208"/>
                      <a:pt x="13515" y="11348"/>
                    </a:cubicBezTo>
                    <a:cubicBezTo>
                      <a:pt x="13733" y="11348"/>
                      <a:pt x="13655" y="11348"/>
                      <a:pt x="13515" y="11442"/>
                    </a:cubicBezTo>
                    <a:cubicBezTo>
                      <a:pt x="13375" y="11535"/>
                      <a:pt x="13515" y="11442"/>
                      <a:pt x="13608" y="11442"/>
                    </a:cubicBezTo>
                    <a:cubicBezTo>
                      <a:pt x="13623" y="11509"/>
                      <a:pt x="13580" y="11575"/>
                      <a:pt x="13512" y="11590"/>
                    </a:cubicBezTo>
                    <a:cubicBezTo>
                      <a:pt x="13487" y="11595"/>
                      <a:pt x="13461" y="11592"/>
                      <a:pt x="13437" y="11582"/>
                    </a:cubicBezTo>
                    <a:cubicBezTo>
                      <a:pt x="13437" y="11582"/>
                      <a:pt x="13577" y="11660"/>
                      <a:pt x="13437" y="11722"/>
                    </a:cubicBezTo>
                    <a:cubicBezTo>
                      <a:pt x="13608" y="11816"/>
                      <a:pt x="13250" y="11941"/>
                      <a:pt x="13219" y="11878"/>
                    </a:cubicBezTo>
                    <a:cubicBezTo>
                      <a:pt x="13188" y="11816"/>
                      <a:pt x="13219" y="12128"/>
                      <a:pt x="13078" y="12081"/>
                    </a:cubicBezTo>
                    <a:cubicBezTo>
                      <a:pt x="12938" y="12034"/>
                      <a:pt x="13312" y="12081"/>
                      <a:pt x="13188" y="12174"/>
                    </a:cubicBezTo>
                    <a:cubicBezTo>
                      <a:pt x="13063" y="12268"/>
                      <a:pt x="13188" y="12174"/>
                      <a:pt x="13188" y="12252"/>
                    </a:cubicBezTo>
                    <a:cubicBezTo>
                      <a:pt x="13188" y="12330"/>
                      <a:pt x="13188" y="12252"/>
                      <a:pt x="13188" y="12362"/>
                    </a:cubicBezTo>
                    <a:lnTo>
                      <a:pt x="13281" y="12362"/>
                    </a:lnTo>
                    <a:cubicBezTo>
                      <a:pt x="13281" y="12439"/>
                      <a:pt x="13094" y="12595"/>
                      <a:pt x="13000" y="12564"/>
                    </a:cubicBezTo>
                    <a:cubicBezTo>
                      <a:pt x="12907" y="12533"/>
                      <a:pt x="13141" y="12564"/>
                      <a:pt x="13203" y="12564"/>
                    </a:cubicBezTo>
                    <a:cubicBezTo>
                      <a:pt x="13000" y="12751"/>
                      <a:pt x="13203" y="12564"/>
                      <a:pt x="13203" y="12564"/>
                    </a:cubicBezTo>
                    <a:cubicBezTo>
                      <a:pt x="13203" y="12564"/>
                      <a:pt x="13203" y="12564"/>
                      <a:pt x="13063" y="12704"/>
                    </a:cubicBezTo>
                    <a:cubicBezTo>
                      <a:pt x="13063" y="12704"/>
                      <a:pt x="13328" y="12533"/>
                      <a:pt x="13203" y="12704"/>
                    </a:cubicBezTo>
                    <a:lnTo>
                      <a:pt x="13203" y="12704"/>
                    </a:lnTo>
                    <a:cubicBezTo>
                      <a:pt x="13203" y="12704"/>
                      <a:pt x="13125" y="12798"/>
                      <a:pt x="13110" y="12845"/>
                    </a:cubicBezTo>
                    <a:cubicBezTo>
                      <a:pt x="13094" y="12892"/>
                      <a:pt x="13390" y="12845"/>
                      <a:pt x="13203" y="12845"/>
                    </a:cubicBezTo>
                    <a:cubicBezTo>
                      <a:pt x="13437" y="13016"/>
                      <a:pt x="12891" y="12923"/>
                      <a:pt x="12813" y="13032"/>
                    </a:cubicBezTo>
                    <a:cubicBezTo>
                      <a:pt x="13219" y="13032"/>
                      <a:pt x="12689" y="13032"/>
                      <a:pt x="12611" y="13157"/>
                    </a:cubicBezTo>
                    <a:cubicBezTo>
                      <a:pt x="12587" y="13102"/>
                      <a:pt x="12587" y="13040"/>
                      <a:pt x="12611" y="12985"/>
                    </a:cubicBezTo>
                    <a:cubicBezTo>
                      <a:pt x="12611" y="13110"/>
                      <a:pt x="12611" y="13188"/>
                      <a:pt x="12517" y="13281"/>
                    </a:cubicBezTo>
                    <a:cubicBezTo>
                      <a:pt x="12689" y="13281"/>
                      <a:pt x="12876" y="13016"/>
                      <a:pt x="13094" y="13079"/>
                    </a:cubicBezTo>
                    <a:cubicBezTo>
                      <a:pt x="12985" y="12938"/>
                      <a:pt x="13437" y="13079"/>
                      <a:pt x="13094" y="13266"/>
                    </a:cubicBezTo>
                    <a:cubicBezTo>
                      <a:pt x="13094" y="13266"/>
                      <a:pt x="13094" y="13266"/>
                      <a:pt x="13094" y="13266"/>
                    </a:cubicBezTo>
                    <a:cubicBezTo>
                      <a:pt x="13094" y="13266"/>
                      <a:pt x="13343" y="13125"/>
                      <a:pt x="13219" y="13266"/>
                    </a:cubicBezTo>
                    <a:cubicBezTo>
                      <a:pt x="13094" y="13406"/>
                      <a:pt x="13312" y="13266"/>
                      <a:pt x="13297" y="13266"/>
                    </a:cubicBezTo>
                    <a:cubicBezTo>
                      <a:pt x="13281" y="13266"/>
                      <a:pt x="13297" y="13422"/>
                      <a:pt x="13156" y="13406"/>
                    </a:cubicBezTo>
                    <a:cubicBezTo>
                      <a:pt x="13250" y="13406"/>
                      <a:pt x="13032" y="13609"/>
                      <a:pt x="13032" y="13499"/>
                    </a:cubicBezTo>
                    <a:cubicBezTo>
                      <a:pt x="13032" y="13390"/>
                      <a:pt x="13203" y="13655"/>
                      <a:pt x="13032" y="13624"/>
                    </a:cubicBezTo>
                    <a:cubicBezTo>
                      <a:pt x="13234" y="13718"/>
                      <a:pt x="12595" y="13983"/>
                      <a:pt x="12564" y="13874"/>
                    </a:cubicBezTo>
                    <a:cubicBezTo>
                      <a:pt x="12533" y="13764"/>
                      <a:pt x="12455" y="13874"/>
                      <a:pt x="12564" y="13874"/>
                    </a:cubicBezTo>
                    <a:cubicBezTo>
                      <a:pt x="12143" y="14232"/>
                      <a:pt x="11800" y="14279"/>
                      <a:pt x="11426" y="13983"/>
                    </a:cubicBezTo>
                    <a:cubicBezTo>
                      <a:pt x="11426" y="13983"/>
                      <a:pt x="11083" y="13983"/>
                      <a:pt x="11114" y="13842"/>
                    </a:cubicBezTo>
                    <a:cubicBezTo>
                      <a:pt x="10553" y="14185"/>
                      <a:pt x="10039" y="14544"/>
                      <a:pt x="9462" y="14856"/>
                    </a:cubicBezTo>
                    <a:cubicBezTo>
                      <a:pt x="9846" y="14695"/>
                      <a:pt x="10278" y="14695"/>
                      <a:pt x="10662" y="14856"/>
                    </a:cubicBezTo>
                    <a:cubicBezTo>
                      <a:pt x="10622" y="14910"/>
                      <a:pt x="10568" y="14953"/>
                      <a:pt x="10506" y="14980"/>
                    </a:cubicBezTo>
                    <a:cubicBezTo>
                      <a:pt x="10662" y="14980"/>
                      <a:pt x="10304" y="15323"/>
                      <a:pt x="10506" y="15370"/>
                    </a:cubicBezTo>
                    <a:cubicBezTo>
                      <a:pt x="10350" y="15448"/>
                      <a:pt x="10647" y="15666"/>
                      <a:pt x="10740" y="15542"/>
                    </a:cubicBezTo>
                    <a:cubicBezTo>
                      <a:pt x="10740" y="15542"/>
                      <a:pt x="10865" y="15666"/>
                      <a:pt x="10740" y="15651"/>
                    </a:cubicBezTo>
                    <a:cubicBezTo>
                      <a:pt x="10958" y="15651"/>
                      <a:pt x="10148" y="15900"/>
                      <a:pt x="10210" y="15760"/>
                    </a:cubicBezTo>
                    <a:cubicBezTo>
                      <a:pt x="10075" y="15886"/>
                      <a:pt x="9929" y="16001"/>
                      <a:pt x="9774" y="16103"/>
                    </a:cubicBezTo>
                    <a:lnTo>
                      <a:pt x="9774" y="16103"/>
                    </a:lnTo>
                    <a:cubicBezTo>
                      <a:pt x="9680" y="16103"/>
                      <a:pt x="9774" y="15962"/>
                      <a:pt x="9774" y="16009"/>
                    </a:cubicBezTo>
                    <a:cubicBezTo>
                      <a:pt x="9774" y="15807"/>
                      <a:pt x="10319" y="15417"/>
                      <a:pt x="10319" y="15682"/>
                    </a:cubicBezTo>
                    <a:cubicBezTo>
                      <a:pt x="10319" y="15588"/>
                      <a:pt x="10428" y="15682"/>
                      <a:pt x="10475" y="15604"/>
                    </a:cubicBezTo>
                    <a:cubicBezTo>
                      <a:pt x="10195" y="15495"/>
                      <a:pt x="10195" y="15604"/>
                      <a:pt x="10475" y="15401"/>
                    </a:cubicBezTo>
                    <a:lnTo>
                      <a:pt x="10475" y="15401"/>
                    </a:lnTo>
                    <a:lnTo>
                      <a:pt x="10475" y="15401"/>
                    </a:lnTo>
                    <a:cubicBezTo>
                      <a:pt x="10475" y="15495"/>
                      <a:pt x="10023" y="15651"/>
                      <a:pt x="10195" y="15401"/>
                    </a:cubicBezTo>
                    <a:cubicBezTo>
                      <a:pt x="10070" y="15542"/>
                      <a:pt x="10023" y="15495"/>
                      <a:pt x="9914" y="15401"/>
                    </a:cubicBezTo>
                    <a:cubicBezTo>
                      <a:pt x="9805" y="15308"/>
                      <a:pt x="9914" y="15510"/>
                      <a:pt x="9914" y="15573"/>
                    </a:cubicBezTo>
                    <a:cubicBezTo>
                      <a:pt x="9914" y="15635"/>
                      <a:pt x="9914" y="15729"/>
                      <a:pt x="9914" y="15573"/>
                    </a:cubicBezTo>
                    <a:cubicBezTo>
                      <a:pt x="9914" y="15417"/>
                      <a:pt x="9618" y="15713"/>
                      <a:pt x="9680" y="15573"/>
                    </a:cubicBezTo>
                    <a:cubicBezTo>
                      <a:pt x="9743" y="15432"/>
                      <a:pt x="9509" y="15651"/>
                      <a:pt x="9680" y="15573"/>
                    </a:cubicBezTo>
                    <a:cubicBezTo>
                      <a:pt x="9852" y="15495"/>
                      <a:pt x="9571" y="15697"/>
                      <a:pt x="9509" y="15729"/>
                    </a:cubicBezTo>
                    <a:lnTo>
                      <a:pt x="9509" y="15729"/>
                    </a:lnTo>
                    <a:cubicBezTo>
                      <a:pt x="9509" y="15729"/>
                      <a:pt x="9509" y="15807"/>
                      <a:pt x="9509" y="15729"/>
                    </a:cubicBezTo>
                    <a:cubicBezTo>
                      <a:pt x="9509" y="15651"/>
                      <a:pt x="9400" y="15853"/>
                      <a:pt x="9509" y="15729"/>
                    </a:cubicBezTo>
                    <a:cubicBezTo>
                      <a:pt x="9306" y="15729"/>
                      <a:pt x="8823" y="16648"/>
                      <a:pt x="9150" y="16337"/>
                    </a:cubicBezTo>
                    <a:cubicBezTo>
                      <a:pt x="9150" y="16461"/>
                      <a:pt x="8932" y="16633"/>
                      <a:pt x="8994" y="16414"/>
                    </a:cubicBezTo>
                    <a:cubicBezTo>
                      <a:pt x="8870" y="16570"/>
                      <a:pt x="8885" y="16555"/>
                      <a:pt x="8901" y="16414"/>
                    </a:cubicBezTo>
                    <a:cubicBezTo>
                      <a:pt x="8495" y="16565"/>
                      <a:pt x="8153" y="16851"/>
                      <a:pt x="7934" y="17225"/>
                    </a:cubicBezTo>
                    <a:lnTo>
                      <a:pt x="7934" y="17225"/>
                    </a:lnTo>
                    <a:lnTo>
                      <a:pt x="7934" y="17225"/>
                    </a:lnTo>
                    <a:cubicBezTo>
                      <a:pt x="7934" y="17225"/>
                      <a:pt x="7934" y="17085"/>
                      <a:pt x="7934" y="17007"/>
                    </a:cubicBezTo>
                    <a:cubicBezTo>
                      <a:pt x="7810" y="17225"/>
                      <a:pt x="7794" y="17506"/>
                      <a:pt x="7591" y="17693"/>
                    </a:cubicBezTo>
                    <a:lnTo>
                      <a:pt x="7591" y="17693"/>
                    </a:lnTo>
                    <a:lnTo>
                      <a:pt x="7498" y="17833"/>
                    </a:lnTo>
                    <a:cubicBezTo>
                      <a:pt x="7531" y="17730"/>
                      <a:pt x="7584" y="17635"/>
                      <a:pt x="7654" y="17552"/>
                    </a:cubicBezTo>
                    <a:cubicBezTo>
                      <a:pt x="7654" y="17552"/>
                      <a:pt x="7654" y="17474"/>
                      <a:pt x="7654" y="17443"/>
                    </a:cubicBezTo>
                    <a:lnTo>
                      <a:pt x="7654" y="17443"/>
                    </a:lnTo>
                    <a:cubicBezTo>
                      <a:pt x="7654" y="17256"/>
                      <a:pt x="7810" y="17116"/>
                      <a:pt x="7872" y="16944"/>
                    </a:cubicBezTo>
                    <a:cubicBezTo>
                      <a:pt x="7755" y="17096"/>
                      <a:pt x="7660" y="17264"/>
                      <a:pt x="7591" y="17443"/>
                    </a:cubicBezTo>
                    <a:cubicBezTo>
                      <a:pt x="7591" y="17350"/>
                      <a:pt x="7591" y="17272"/>
                      <a:pt x="7591" y="17178"/>
                    </a:cubicBezTo>
                    <a:cubicBezTo>
                      <a:pt x="7591" y="17085"/>
                      <a:pt x="7591" y="17771"/>
                      <a:pt x="7591" y="17537"/>
                    </a:cubicBezTo>
                    <a:cubicBezTo>
                      <a:pt x="7591" y="17537"/>
                      <a:pt x="7591" y="17786"/>
                      <a:pt x="7591" y="17724"/>
                    </a:cubicBezTo>
                    <a:cubicBezTo>
                      <a:pt x="7591" y="17662"/>
                      <a:pt x="7591" y="17802"/>
                      <a:pt x="7591" y="17833"/>
                    </a:cubicBezTo>
                    <a:cubicBezTo>
                      <a:pt x="7600" y="17792"/>
                      <a:pt x="7600" y="17749"/>
                      <a:pt x="7591" y="17708"/>
                    </a:cubicBezTo>
                    <a:cubicBezTo>
                      <a:pt x="7591" y="17833"/>
                      <a:pt x="7716" y="17895"/>
                      <a:pt x="7591" y="18020"/>
                    </a:cubicBezTo>
                    <a:lnTo>
                      <a:pt x="7591" y="18020"/>
                    </a:lnTo>
                    <a:cubicBezTo>
                      <a:pt x="7591" y="18145"/>
                      <a:pt x="7420" y="18285"/>
                      <a:pt x="7451" y="18129"/>
                    </a:cubicBezTo>
                    <a:cubicBezTo>
                      <a:pt x="7482" y="17973"/>
                      <a:pt x="7451" y="18223"/>
                      <a:pt x="7451" y="18238"/>
                    </a:cubicBezTo>
                    <a:cubicBezTo>
                      <a:pt x="7451" y="18254"/>
                      <a:pt x="7529" y="18238"/>
                      <a:pt x="7545" y="18363"/>
                    </a:cubicBezTo>
                    <a:cubicBezTo>
                      <a:pt x="7536" y="18332"/>
                      <a:pt x="7536" y="18300"/>
                      <a:pt x="7545" y="18269"/>
                    </a:cubicBezTo>
                    <a:cubicBezTo>
                      <a:pt x="7545" y="18363"/>
                      <a:pt x="7545" y="18410"/>
                      <a:pt x="7420" y="18472"/>
                    </a:cubicBezTo>
                    <a:cubicBezTo>
                      <a:pt x="7295" y="18534"/>
                      <a:pt x="7420" y="18472"/>
                      <a:pt x="7420" y="18379"/>
                    </a:cubicBezTo>
                    <a:cubicBezTo>
                      <a:pt x="7420" y="18285"/>
                      <a:pt x="7420" y="18379"/>
                      <a:pt x="7420" y="18379"/>
                    </a:cubicBezTo>
                    <a:cubicBezTo>
                      <a:pt x="7420" y="18379"/>
                      <a:pt x="7420" y="18581"/>
                      <a:pt x="7420" y="18503"/>
                    </a:cubicBezTo>
                    <a:lnTo>
                      <a:pt x="7420" y="18503"/>
                    </a:lnTo>
                    <a:lnTo>
                      <a:pt x="7420" y="18503"/>
                    </a:lnTo>
                    <a:lnTo>
                      <a:pt x="7420" y="18503"/>
                    </a:lnTo>
                    <a:cubicBezTo>
                      <a:pt x="6344" y="18503"/>
                      <a:pt x="5861" y="22681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cubicBezTo>
                      <a:pt x="5970" y="20857"/>
                      <a:pt x="5970" y="20857"/>
                      <a:pt x="5970" y="20857"/>
                    </a:cubicBezTo>
                    <a:lnTo>
                      <a:pt x="5970" y="20857"/>
                    </a:lnTo>
                    <a:cubicBezTo>
                      <a:pt x="5970" y="20764"/>
                      <a:pt x="5970" y="20608"/>
                      <a:pt x="5970" y="20514"/>
                    </a:cubicBezTo>
                    <a:cubicBezTo>
                      <a:pt x="5970" y="20421"/>
                      <a:pt x="5970" y="20514"/>
                      <a:pt x="5970" y="20608"/>
                    </a:cubicBezTo>
                    <a:cubicBezTo>
                      <a:pt x="5970" y="20701"/>
                      <a:pt x="6220" y="19766"/>
                      <a:pt x="5970" y="19735"/>
                    </a:cubicBezTo>
                    <a:cubicBezTo>
                      <a:pt x="5721" y="19704"/>
                      <a:pt x="5877" y="19828"/>
                      <a:pt x="5970" y="19735"/>
                    </a:cubicBezTo>
                    <a:lnTo>
                      <a:pt x="5970" y="19735"/>
                    </a:lnTo>
                    <a:lnTo>
                      <a:pt x="5970" y="19735"/>
                    </a:lnTo>
                    <a:cubicBezTo>
                      <a:pt x="5970" y="19735"/>
                      <a:pt x="5970" y="19579"/>
                      <a:pt x="5970" y="19641"/>
                    </a:cubicBezTo>
                    <a:cubicBezTo>
                      <a:pt x="5978" y="19605"/>
                      <a:pt x="5978" y="19568"/>
                      <a:pt x="5970" y="19532"/>
                    </a:cubicBezTo>
                    <a:lnTo>
                      <a:pt x="5970" y="19532"/>
                    </a:lnTo>
                    <a:cubicBezTo>
                      <a:pt x="5970" y="19532"/>
                      <a:pt x="5970" y="19454"/>
                      <a:pt x="5970" y="19407"/>
                    </a:cubicBezTo>
                    <a:lnTo>
                      <a:pt x="5970" y="19407"/>
                    </a:ln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407"/>
                      <a:pt x="5970" y="19407"/>
                    </a:cubicBezTo>
                    <a:cubicBezTo>
                      <a:pt x="5970" y="19407"/>
                      <a:pt x="5970" y="19314"/>
                      <a:pt x="5970" y="19267"/>
                    </a:cubicBezTo>
                    <a:lnTo>
                      <a:pt x="5970" y="19361"/>
                    </a:lnTo>
                    <a:cubicBezTo>
                      <a:pt x="5970" y="19267"/>
                      <a:pt x="5799" y="19361"/>
                      <a:pt x="5783" y="19470"/>
                    </a:cubicBezTo>
                    <a:lnTo>
                      <a:pt x="5783" y="19470"/>
                    </a:lnTo>
                    <a:cubicBezTo>
                      <a:pt x="5783" y="19641"/>
                      <a:pt x="5783" y="19750"/>
                      <a:pt x="5783" y="19828"/>
                    </a:cubicBezTo>
                    <a:cubicBezTo>
                      <a:pt x="5783" y="19906"/>
                      <a:pt x="5783" y="19485"/>
                      <a:pt x="5783" y="19750"/>
                    </a:cubicBezTo>
                    <a:lnTo>
                      <a:pt x="5783" y="19657"/>
                    </a:lnTo>
                    <a:cubicBezTo>
                      <a:pt x="5783" y="19548"/>
                      <a:pt x="5783" y="19485"/>
                      <a:pt x="5783" y="19376"/>
                    </a:cubicBezTo>
                    <a:cubicBezTo>
                      <a:pt x="5783" y="19267"/>
                      <a:pt x="5783" y="19376"/>
                      <a:pt x="5783" y="19376"/>
                    </a:cubicBezTo>
                    <a:cubicBezTo>
                      <a:pt x="5783" y="19594"/>
                      <a:pt x="5783" y="19127"/>
                      <a:pt x="5612" y="19376"/>
                    </a:cubicBezTo>
                    <a:cubicBezTo>
                      <a:pt x="5612" y="19376"/>
                      <a:pt x="5612" y="19236"/>
                      <a:pt x="5612" y="19174"/>
                    </a:cubicBezTo>
                    <a:cubicBezTo>
                      <a:pt x="5612" y="19111"/>
                      <a:pt x="5612" y="19283"/>
                      <a:pt x="5612" y="19174"/>
                    </a:cubicBezTo>
                    <a:cubicBezTo>
                      <a:pt x="5621" y="19251"/>
                      <a:pt x="5621" y="19330"/>
                      <a:pt x="5612" y="19407"/>
                    </a:cubicBezTo>
                    <a:lnTo>
                      <a:pt x="5612" y="19407"/>
                    </a:lnTo>
                    <a:lnTo>
                      <a:pt x="5612" y="19517"/>
                    </a:lnTo>
                    <a:lnTo>
                      <a:pt x="5612" y="19517"/>
                    </a:lnTo>
                    <a:cubicBezTo>
                      <a:pt x="5612" y="19594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517"/>
                      <a:pt x="5612" y="19517"/>
                    </a:cubicBezTo>
                    <a:lnTo>
                      <a:pt x="5612" y="19517"/>
                    </a:lnTo>
                    <a:cubicBezTo>
                      <a:pt x="5612" y="19517"/>
                      <a:pt x="5612" y="19610"/>
                      <a:pt x="5612" y="19610"/>
                    </a:cubicBezTo>
                    <a:lnTo>
                      <a:pt x="5612" y="19610"/>
                    </a:lnTo>
                    <a:cubicBezTo>
                      <a:pt x="5523" y="19891"/>
                      <a:pt x="5450" y="20178"/>
                      <a:pt x="5393" y="20467"/>
                    </a:cubicBezTo>
                    <a:cubicBezTo>
                      <a:pt x="5393" y="20467"/>
                      <a:pt x="5393" y="20358"/>
                      <a:pt x="5393" y="20327"/>
                    </a:cubicBezTo>
                    <a:cubicBezTo>
                      <a:pt x="5393" y="20296"/>
                      <a:pt x="5300" y="20748"/>
                      <a:pt x="5393" y="20530"/>
                    </a:cubicBezTo>
                    <a:cubicBezTo>
                      <a:pt x="5298" y="20978"/>
                      <a:pt x="5225" y="21430"/>
                      <a:pt x="5175" y="21886"/>
                    </a:cubicBezTo>
                    <a:cubicBezTo>
                      <a:pt x="5144" y="22306"/>
                      <a:pt x="5144" y="22728"/>
                      <a:pt x="5175" y="23149"/>
                    </a:cubicBezTo>
                    <a:cubicBezTo>
                      <a:pt x="5175" y="23149"/>
                      <a:pt x="5175" y="23149"/>
                      <a:pt x="5175" y="23149"/>
                    </a:cubicBezTo>
                    <a:cubicBezTo>
                      <a:pt x="5181" y="23123"/>
                      <a:pt x="5181" y="23096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071"/>
                      <a:pt x="5175" y="23071"/>
                    </a:cubicBezTo>
                    <a:lnTo>
                      <a:pt x="5175" y="23071"/>
                    </a:lnTo>
                    <a:cubicBezTo>
                      <a:pt x="5175" y="23071"/>
                      <a:pt x="5175" y="23195"/>
                      <a:pt x="5175" y="23258"/>
                    </a:cubicBezTo>
                    <a:lnTo>
                      <a:pt x="5175" y="23258"/>
                    </a:lnTo>
                    <a:lnTo>
                      <a:pt x="5175" y="23258"/>
                    </a:lnTo>
                    <a:cubicBezTo>
                      <a:pt x="5183" y="23190"/>
                      <a:pt x="5183" y="23122"/>
                      <a:pt x="5175" y="23055"/>
                    </a:cubicBezTo>
                    <a:lnTo>
                      <a:pt x="5175" y="23055"/>
                    </a:lnTo>
                    <a:cubicBezTo>
                      <a:pt x="5316" y="22915"/>
                      <a:pt x="5175" y="22244"/>
                      <a:pt x="5440" y="22385"/>
                    </a:cubicBezTo>
                    <a:cubicBezTo>
                      <a:pt x="5440" y="22385"/>
                      <a:pt x="5440" y="22291"/>
                      <a:pt x="5440" y="22385"/>
                    </a:cubicBezTo>
                    <a:cubicBezTo>
                      <a:pt x="5440" y="22478"/>
                      <a:pt x="5440" y="22385"/>
                      <a:pt x="5440" y="22385"/>
                    </a:cubicBezTo>
                    <a:cubicBezTo>
                      <a:pt x="5440" y="22385"/>
                      <a:pt x="5440" y="22525"/>
                      <a:pt x="5440" y="22385"/>
                    </a:cubicBezTo>
                    <a:cubicBezTo>
                      <a:pt x="5534" y="22650"/>
                      <a:pt x="5269" y="22946"/>
                      <a:pt x="5316" y="23227"/>
                    </a:cubicBezTo>
                    <a:cubicBezTo>
                      <a:pt x="5316" y="23227"/>
                      <a:pt x="5316" y="23476"/>
                      <a:pt x="5316" y="23523"/>
                    </a:cubicBezTo>
                    <a:cubicBezTo>
                      <a:pt x="5277" y="23863"/>
                      <a:pt x="4970" y="24107"/>
                      <a:pt x="4630" y="24068"/>
                    </a:cubicBezTo>
                    <a:cubicBezTo>
                      <a:pt x="4290" y="24029"/>
                      <a:pt x="4045" y="23723"/>
                      <a:pt x="4084" y="23382"/>
                    </a:cubicBezTo>
                    <a:cubicBezTo>
                      <a:pt x="4084" y="23554"/>
                      <a:pt x="4084" y="23912"/>
                      <a:pt x="3991" y="24193"/>
                    </a:cubicBezTo>
                    <a:lnTo>
                      <a:pt x="3991" y="24193"/>
                    </a:lnTo>
                    <a:cubicBezTo>
                      <a:pt x="3975" y="24254"/>
                      <a:pt x="3975" y="24319"/>
                      <a:pt x="3991" y="24380"/>
                    </a:cubicBezTo>
                    <a:lnTo>
                      <a:pt x="3991" y="24380"/>
                    </a:lnTo>
                    <a:cubicBezTo>
                      <a:pt x="3991" y="24380"/>
                      <a:pt x="3991" y="24380"/>
                      <a:pt x="3991" y="24458"/>
                    </a:cubicBezTo>
                    <a:cubicBezTo>
                      <a:pt x="3991" y="24536"/>
                      <a:pt x="4178" y="24629"/>
                      <a:pt x="4162" y="24458"/>
                    </a:cubicBezTo>
                    <a:cubicBezTo>
                      <a:pt x="4162" y="24552"/>
                      <a:pt x="4162" y="24598"/>
                      <a:pt x="4287" y="24676"/>
                    </a:cubicBezTo>
                    <a:lnTo>
                      <a:pt x="4287" y="24676"/>
                    </a:lnTo>
                    <a:cubicBezTo>
                      <a:pt x="4300" y="24722"/>
                      <a:pt x="4300" y="24771"/>
                      <a:pt x="4287" y="24817"/>
                    </a:cubicBezTo>
                    <a:cubicBezTo>
                      <a:pt x="4287" y="24692"/>
                      <a:pt x="4287" y="24817"/>
                      <a:pt x="4287" y="24910"/>
                    </a:cubicBezTo>
                    <a:lnTo>
                      <a:pt x="4287" y="24910"/>
                    </a:lnTo>
                    <a:cubicBezTo>
                      <a:pt x="4326" y="25121"/>
                      <a:pt x="4326" y="25338"/>
                      <a:pt x="4287" y="25549"/>
                    </a:cubicBezTo>
                    <a:lnTo>
                      <a:pt x="4287" y="25549"/>
                    </a:lnTo>
                    <a:cubicBezTo>
                      <a:pt x="4295" y="25689"/>
                      <a:pt x="4295" y="25830"/>
                      <a:pt x="4287" y="25970"/>
                    </a:cubicBezTo>
                    <a:cubicBezTo>
                      <a:pt x="4287" y="25970"/>
                      <a:pt x="4287" y="25877"/>
                      <a:pt x="4287" y="25814"/>
                    </a:cubicBezTo>
                    <a:cubicBezTo>
                      <a:pt x="4279" y="25923"/>
                      <a:pt x="4279" y="26033"/>
                      <a:pt x="4287" y="26142"/>
                    </a:cubicBezTo>
                    <a:cubicBezTo>
                      <a:pt x="4296" y="26116"/>
                      <a:pt x="4296" y="26089"/>
                      <a:pt x="4287" y="26064"/>
                    </a:cubicBezTo>
                    <a:cubicBezTo>
                      <a:pt x="4262" y="26192"/>
                      <a:pt x="4262" y="26325"/>
                      <a:pt x="4287" y="26453"/>
                    </a:cubicBezTo>
                    <a:cubicBezTo>
                      <a:pt x="4287" y="26375"/>
                      <a:pt x="4489" y="27264"/>
                      <a:pt x="4474" y="26983"/>
                    </a:cubicBezTo>
                    <a:cubicBezTo>
                      <a:pt x="4661" y="27467"/>
                      <a:pt x="4692" y="26438"/>
                      <a:pt x="5113" y="27654"/>
                    </a:cubicBezTo>
                    <a:cubicBezTo>
                      <a:pt x="5113" y="27560"/>
                      <a:pt x="5113" y="26625"/>
                      <a:pt x="5409" y="26859"/>
                    </a:cubicBezTo>
                    <a:cubicBezTo>
                      <a:pt x="5409" y="27061"/>
                      <a:pt x="5409" y="26859"/>
                      <a:pt x="5409" y="26749"/>
                    </a:cubicBezTo>
                    <a:cubicBezTo>
                      <a:pt x="5409" y="26640"/>
                      <a:pt x="5674" y="26594"/>
                      <a:pt x="5768" y="26531"/>
                    </a:cubicBezTo>
                    <a:cubicBezTo>
                      <a:pt x="5877" y="26734"/>
                      <a:pt x="5768" y="27077"/>
                      <a:pt x="5768" y="27357"/>
                    </a:cubicBezTo>
                    <a:cubicBezTo>
                      <a:pt x="6017" y="28043"/>
                      <a:pt x="5768" y="26937"/>
                      <a:pt x="6048" y="26921"/>
                    </a:cubicBezTo>
                    <a:cubicBezTo>
                      <a:pt x="6329" y="26905"/>
                      <a:pt x="5923" y="26812"/>
                      <a:pt x="6048" y="26718"/>
                    </a:cubicBezTo>
                    <a:cubicBezTo>
                      <a:pt x="6173" y="26625"/>
                      <a:pt x="6048" y="26921"/>
                      <a:pt x="6157" y="26983"/>
                    </a:cubicBezTo>
                    <a:cubicBezTo>
                      <a:pt x="6292" y="26991"/>
                      <a:pt x="6399" y="27098"/>
                      <a:pt x="6407" y="27233"/>
                    </a:cubicBezTo>
                    <a:cubicBezTo>
                      <a:pt x="6298" y="27420"/>
                      <a:pt x="6672" y="27357"/>
                      <a:pt x="6781" y="27404"/>
                    </a:cubicBezTo>
                    <a:cubicBezTo>
                      <a:pt x="6859" y="27825"/>
                      <a:pt x="7342" y="27264"/>
                      <a:pt x="7498" y="27591"/>
                    </a:cubicBezTo>
                    <a:cubicBezTo>
                      <a:pt x="7264" y="27591"/>
                      <a:pt x="7326" y="27591"/>
                      <a:pt x="7498" y="27809"/>
                    </a:cubicBezTo>
                    <a:cubicBezTo>
                      <a:pt x="7498" y="27654"/>
                      <a:pt x="8043" y="28230"/>
                      <a:pt x="7654" y="28230"/>
                    </a:cubicBezTo>
                    <a:cubicBezTo>
                      <a:pt x="8064" y="28271"/>
                      <a:pt x="8367" y="28630"/>
                      <a:pt x="8340" y="29041"/>
                    </a:cubicBezTo>
                    <a:cubicBezTo>
                      <a:pt x="8340" y="28745"/>
                      <a:pt x="8667" y="29181"/>
                      <a:pt x="8667" y="29322"/>
                    </a:cubicBezTo>
                    <a:cubicBezTo>
                      <a:pt x="8589" y="29134"/>
                      <a:pt x="9493" y="29322"/>
                      <a:pt x="9275" y="29524"/>
                    </a:cubicBezTo>
                    <a:cubicBezTo>
                      <a:pt x="9478" y="29368"/>
                      <a:pt x="9961" y="29976"/>
                      <a:pt x="9852" y="30085"/>
                    </a:cubicBezTo>
                    <a:cubicBezTo>
                      <a:pt x="9992" y="29852"/>
                      <a:pt x="10101" y="30615"/>
                      <a:pt x="10257" y="30787"/>
                    </a:cubicBezTo>
                    <a:cubicBezTo>
                      <a:pt x="10413" y="30958"/>
                      <a:pt x="9961" y="31364"/>
                      <a:pt x="10023" y="31644"/>
                    </a:cubicBezTo>
                    <a:cubicBezTo>
                      <a:pt x="10023" y="31410"/>
                      <a:pt x="10195" y="31426"/>
                      <a:pt x="10117" y="31644"/>
                    </a:cubicBezTo>
                    <a:cubicBezTo>
                      <a:pt x="10117" y="31644"/>
                      <a:pt x="10226" y="31364"/>
                      <a:pt x="10288" y="31519"/>
                    </a:cubicBezTo>
                    <a:cubicBezTo>
                      <a:pt x="10350" y="31675"/>
                      <a:pt x="10288" y="31519"/>
                      <a:pt x="10288" y="31519"/>
                    </a:cubicBezTo>
                    <a:cubicBezTo>
                      <a:pt x="10288" y="31052"/>
                      <a:pt x="11255" y="31894"/>
                      <a:pt x="10288" y="31847"/>
                    </a:cubicBezTo>
                    <a:cubicBezTo>
                      <a:pt x="10662" y="31847"/>
                      <a:pt x="10475" y="32049"/>
                      <a:pt x="10600" y="32330"/>
                    </a:cubicBezTo>
                    <a:cubicBezTo>
                      <a:pt x="10475" y="31831"/>
                      <a:pt x="10958" y="31379"/>
                      <a:pt x="11270" y="31831"/>
                    </a:cubicBezTo>
                    <a:cubicBezTo>
                      <a:pt x="11270" y="31831"/>
                      <a:pt x="11442" y="31925"/>
                      <a:pt x="11473" y="32003"/>
                    </a:cubicBezTo>
                    <a:cubicBezTo>
                      <a:pt x="11504" y="32081"/>
                      <a:pt x="11785" y="32096"/>
                      <a:pt x="11691" y="32190"/>
                    </a:cubicBezTo>
                    <a:cubicBezTo>
                      <a:pt x="11598" y="32283"/>
                      <a:pt x="11691" y="32424"/>
                      <a:pt x="11769" y="32517"/>
                    </a:cubicBezTo>
                    <a:cubicBezTo>
                      <a:pt x="11847" y="32611"/>
                      <a:pt x="11769" y="32205"/>
                      <a:pt x="11769" y="32408"/>
                    </a:cubicBezTo>
                    <a:cubicBezTo>
                      <a:pt x="11769" y="32268"/>
                      <a:pt x="11894" y="32314"/>
                      <a:pt x="11769" y="32221"/>
                    </a:cubicBezTo>
                    <a:cubicBezTo>
                      <a:pt x="11644" y="32127"/>
                      <a:pt x="12128" y="32455"/>
                      <a:pt x="12128" y="32346"/>
                    </a:cubicBezTo>
                    <a:cubicBezTo>
                      <a:pt x="12128" y="32237"/>
                      <a:pt x="12128" y="32346"/>
                      <a:pt x="12221" y="32439"/>
                    </a:cubicBezTo>
                    <a:cubicBezTo>
                      <a:pt x="12315" y="32533"/>
                      <a:pt x="12221" y="32439"/>
                      <a:pt x="12221" y="32439"/>
                    </a:cubicBezTo>
                    <a:lnTo>
                      <a:pt x="12221" y="32439"/>
                    </a:lnTo>
                    <a:lnTo>
                      <a:pt x="12221" y="32439"/>
                    </a:lnTo>
                    <a:cubicBezTo>
                      <a:pt x="13468" y="32813"/>
                      <a:pt x="14918" y="33998"/>
                      <a:pt x="13546" y="35323"/>
                    </a:cubicBezTo>
                    <a:cubicBezTo>
                      <a:pt x="13546" y="35245"/>
                      <a:pt x="13546" y="35105"/>
                      <a:pt x="13546" y="35229"/>
                    </a:cubicBezTo>
                    <a:cubicBezTo>
                      <a:pt x="13546" y="35354"/>
                      <a:pt x="13453" y="35229"/>
                      <a:pt x="13437" y="35229"/>
                    </a:cubicBezTo>
                    <a:lnTo>
                      <a:pt x="13437" y="35229"/>
                    </a:lnTo>
                    <a:cubicBezTo>
                      <a:pt x="13733" y="35744"/>
                      <a:pt x="14263" y="37770"/>
                      <a:pt x="13437" y="37614"/>
                    </a:cubicBezTo>
                    <a:cubicBezTo>
                      <a:pt x="13437" y="37614"/>
                      <a:pt x="13172" y="37614"/>
                      <a:pt x="13437" y="37614"/>
                    </a:cubicBezTo>
                    <a:cubicBezTo>
                      <a:pt x="13702" y="37614"/>
                      <a:pt x="13297" y="37614"/>
                      <a:pt x="13250" y="37614"/>
                    </a:cubicBezTo>
                    <a:cubicBezTo>
                      <a:pt x="13203" y="37614"/>
                      <a:pt x="13250" y="37692"/>
                      <a:pt x="13250" y="37833"/>
                    </a:cubicBezTo>
                    <a:cubicBezTo>
                      <a:pt x="13032" y="37661"/>
                      <a:pt x="12938" y="38113"/>
                      <a:pt x="12845" y="38082"/>
                    </a:cubicBezTo>
                    <a:cubicBezTo>
                      <a:pt x="12751" y="38051"/>
                      <a:pt x="12845" y="38082"/>
                      <a:pt x="12845" y="38082"/>
                    </a:cubicBezTo>
                    <a:cubicBezTo>
                      <a:pt x="12845" y="38082"/>
                      <a:pt x="12969" y="38160"/>
                      <a:pt x="12845" y="38160"/>
                    </a:cubicBezTo>
                    <a:cubicBezTo>
                      <a:pt x="12720" y="38160"/>
                      <a:pt x="12845" y="38160"/>
                      <a:pt x="12845" y="38160"/>
                    </a:cubicBezTo>
                    <a:cubicBezTo>
                      <a:pt x="12845" y="38160"/>
                      <a:pt x="13110" y="38503"/>
                      <a:pt x="13078" y="38597"/>
                    </a:cubicBezTo>
                    <a:cubicBezTo>
                      <a:pt x="13047" y="38690"/>
                      <a:pt x="13078" y="39657"/>
                      <a:pt x="13078" y="39329"/>
                    </a:cubicBezTo>
                    <a:cubicBezTo>
                      <a:pt x="13078" y="39329"/>
                      <a:pt x="13078" y="39329"/>
                      <a:pt x="13078" y="39251"/>
                    </a:cubicBezTo>
                    <a:cubicBezTo>
                      <a:pt x="13078" y="39173"/>
                      <a:pt x="13078" y="39127"/>
                      <a:pt x="13078" y="39127"/>
                    </a:cubicBezTo>
                    <a:cubicBezTo>
                      <a:pt x="13012" y="39062"/>
                      <a:pt x="12939" y="39004"/>
                      <a:pt x="12860" y="38955"/>
                    </a:cubicBezTo>
                    <a:cubicBezTo>
                      <a:pt x="12915" y="39005"/>
                      <a:pt x="12962" y="39063"/>
                      <a:pt x="13000" y="39127"/>
                    </a:cubicBezTo>
                    <a:cubicBezTo>
                      <a:pt x="13000" y="39127"/>
                      <a:pt x="13110" y="39345"/>
                      <a:pt x="13000" y="39251"/>
                    </a:cubicBezTo>
                    <a:cubicBezTo>
                      <a:pt x="13484" y="39968"/>
                      <a:pt x="13000" y="40171"/>
                      <a:pt x="12564" y="39766"/>
                    </a:cubicBezTo>
                    <a:lnTo>
                      <a:pt x="13203" y="40311"/>
                    </a:lnTo>
                    <a:lnTo>
                      <a:pt x="13203" y="40311"/>
                    </a:lnTo>
                    <a:cubicBezTo>
                      <a:pt x="13283" y="40379"/>
                      <a:pt x="13347" y="40464"/>
                      <a:pt x="13390" y="40561"/>
                    </a:cubicBezTo>
                    <a:lnTo>
                      <a:pt x="13390" y="40561"/>
                    </a:lnTo>
                    <a:cubicBezTo>
                      <a:pt x="13390" y="40561"/>
                      <a:pt x="13562" y="40794"/>
                      <a:pt x="13390" y="40732"/>
                    </a:cubicBezTo>
                    <a:cubicBezTo>
                      <a:pt x="13219" y="40670"/>
                      <a:pt x="13063" y="40732"/>
                      <a:pt x="12969" y="40732"/>
                    </a:cubicBezTo>
                    <a:cubicBezTo>
                      <a:pt x="12876" y="40732"/>
                      <a:pt x="13141" y="40872"/>
                      <a:pt x="13219" y="40950"/>
                    </a:cubicBezTo>
                    <a:lnTo>
                      <a:pt x="13219" y="40950"/>
                    </a:lnTo>
                    <a:cubicBezTo>
                      <a:pt x="13530" y="41262"/>
                      <a:pt x="13608" y="41356"/>
                      <a:pt x="13125" y="41106"/>
                    </a:cubicBezTo>
                    <a:cubicBezTo>
                      <a:pt x="13269" y="41259"/>
                      <a:pt x="13438" y="41385"/>
                      <a:pt x="13624" y="41480"/>
                    </a:cubicBezTo>
                    <a:cubicBezTo>
                      <a:pt x="13624" y="41480"/>
                      <a:pt x="13624" y="41480"/>
                      <a:pt x="13624" y="41480"/>
                    </a:cubicBezTo>
                    <a:lnTo>
                      <a:pt x="13624" y="41480"/>
                    </a:lnTo>
                    <a:cubicBezTo>
                      <a:pt x="13889" y="41683"/>
                      <a:pt x="13733" y="41699"/>
                      <a:pt x="14263" y="42073"/>
                    </a:cubicBezTo>
                    <a:lnTo>
                      <a:pt x="14263" y="42073"/>
                    </a:lnTo>
                    <a:lnTo>
                      <a:pt x="14263" y="42073"/>
                    </a:lnTo>
                    <a:lnTo>
                      <a:pt x="14263" y="42073"/>
                    </a:lnTo>
                    <a:cubicBezTo>
                      <a:pt x="14513" y="42353"/>
                      <a:pt x="14918" y="42416"/>
                      <a:pt x="15183" y="42665"/>
                    </a:cubicBez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183" y="42665"/>
                    </a:lnTo>
                    <a:lnTo>
                      <a:pt x="15323" y="42774"/>
                    </a:lnTo>
                    <a:lnTo>
                      <a:pt x="15323" y="42774"/>
                    </a:lnTo>
                    <a:lnTo>
                      <a:pt x="15510" y="42899"/>
                    </a:lnTo>
                    <a:cubicBezTo>
                      <a:pt x="15510" y="42899"/>
                      <a:pt x="15510" y="42899"/>
                      <a:pt x="15417" y="42899"/>
                    </a:cubicBezTo>
                    <a:cubicBezTo>
                      <a:pt x="15680" y="43066"/>
                      <a:pt x="15956" y="43212"/>
                      <a:pt x="16243" y="43335"/>
                    </a:cubicBezTo>
                    <a:lnTo>
                      <a:pt x="16243" y="43335"/>
                    </a:lnTo>
                    <a:cubicBezTo>
                      <a:pt x="16149" y="43335"/>
                      <a:pt x="16243" y="43335"/>
                      <a:pt x="16243" y="43335"/>
                    </a:cubicBezTo>
                    <a:lnTo>
                      <a:pt x="16243" y="43335"/>
                    </a:lnTo>
                    <a:cubicBezTo>
                      <a:pt x="16389" y="43422"/>
                      <a:pt x="16539" y="43501"/>
                      <a:pt x="16695" y="43569"/>
                    </a:cubicBezTo>
                    <a:lnTo>
                      <a:pt x="16492" y="43569"/>
                    </a:lnTo>
                    <a:close/>
                    <a:moveTo>
                      <a:pt x="18659" y="9182"/>
                    </a:moveTo>
                    <a:cubicBezTo>
                      <a:pt x="18410" y="9446"/>
                      <a:pt x="18659" y="9088"/>
                      <a:pt x="18659" y="9057"/>
                    </a:cubicBezTo>
                    <a:cubicBezTo>
                      <a:pt x="18659" y="9026"/>
                      <a:pt x="18534" y="9197"/>
                      <a:pt x="18410" y="9369"/>
                    </a:cubicBezTo>
                    <a:cubicBezTo>
                      <a:pt x="17989" y="9150"/>
                      <a:pt x="17770" y="9961"/>
                      <a:pt x="17505" y="9899"/>
                    </a:cubicBezTo>
                    <a:cubicBezTo>
                      <a:pt x="17724" y="10132"/>
                      <a:pt x="17334" y="9899"/>
                      <a:pt x="17381" y="10132"/>
                    </a:cubicBezTo>
                    <a:cubicBezTo>
                      <a:pt x="17256" y="9945"/>
                      <a:pt x="17381" y="10132"/>
                      <a:pt x="17381" y="10132"/>
                    </a:cubicBezTo>
                    <a:cubicBezTo>
                      <a:pt x="17381" y="9899"/>
                      <a:pt x="17381" y="10397"/>
                      <a:pt x="17240" y="10132"/>
                    </a:cubicBezTo>
                    <a:cubicBezTo>
                      <a:pt x="16960" y="10132"/>
                      <a:pt x="17240" y="10507"/>
                      <a:pt x="16866" y="10507"/>
                    </a:cubicBezTo>
                    <a:cubicBezTo>
                      <a:pt x="16866" y="10507"/>
                      <a:pt x="16633" y="10912"/>
                      <a:pt x="16570" y="10803"/>
                    </a:cubicBezTo>
                    <a:cubicBezTo>
                      <a:pt x="16508" y="10694"/>
                      <a:pt x="16196" y="11302"/>
                      <a:pt x="16336" y="10990"/>
                    </a:cubicBezTo>
                    <a:cubicBezTo>
                      <a:pt x="15915" y="11255"/>
                      <a:pt x="16430" y="10834"/>
                      <a:pt x="16103" y="10896"/>
                    </a:cubicBezTo>
                    <a:cubicBezTo>
                      <a:pt x="16492" y="10600"/>
                      <a:pt x="16399" y="10662"/>
                      <a:pt x="15884" y="10694"/>
                    </a:cubicBezTo>
                    <a:cubicBezTo>
                      <a:pt x="15962" y="10267"/>
                      <a:pt x="16121" y="9860"/>
                      <a:pt x="16352" y="9493"/>
                    </a:cubicBezTo>
                    <a:cubicBezTo>
                      <a:pt x="16352" y="9275"/>
                      <a:pt x="16539" y="9493"/>
                      <a:pt x="16742" y="9197"/>
                    </a:cubicBezTo>
                    <a:cubicBezTo>
                      <a:pt x="16321" y="9353"/>
                      <a:pt x="16321" y="9197"/>
                      <a:pt x="16742" y="8839"/>
                    </a:cubicBezTo>
                    <a:cubicBezTo>
                      <a:pt x="16648" y="8839"/>
                      <a:pt x="16523" y="8839"/>
                      <a:pt x="16648" y="8839"/>
                    </a:cubicBezTo>
                    <a:cubicBezTo>
                      <a:pt x="16773" y="8839"/>
                      <a:pt x="16648" y="8745"/>
                      <a:pt x="17209" y="8480"/>
                    </a:cubicBezTo>
                    <a:cubicBezTo>
                      <a:pt x="16071" y="8901"/>
                      <a:pt x="17599" y="8137"/>
                      <a:pt x="17038" y="8262"/>
                    </a:cubicBezTo>
                    <a:cubicBezTo>
                      <a:pt x="17490" y="7856"/>
                      <a:pt x="17381" y="8433"/>
                      <a:pt x="17537" y="8262"/>
                    </a:cubicBezTo>
                    <a:cubicBezTo>
                      <a:pt x="17240" y="8262"/>
                      <a:pt x="17848" y="8044"/>
                      <a:pt x="17537" y="8137"/>
                    </a:cubicBezTo>
                    <a:cubicBezTo>
                      <a:pt x="17646" y="8028"/>
                      <a:pt x="17396" y="8137"/>
                      <a:pt x="17194" y="8137"/>
                    </a:cubicBezTo>
                    <a:cubicBezTo>
                      <a:pt x="17630" y="7747"/>
                      <a:pt x="17459" y="8246"/>
                      <a:pt x="17786" y="7872"/>
                    </a:cubicBezTo>
                    <a:cubicBezTo>
                      <a:pt x="17505" y="8028"/>
                      <a:pt x="17552" y="7763"/>
                      <a:pt x="17786" y="7872"/>
                    </a:cubicBezTo>
                    <a:cubicBezTo>
                      <a:pt x="17976" y="7744"/>
                      <a:pt x="18154" y="7598"/>
                      <a:pt x="18316" y="7436"/>
                    </a:cubicBezTo>
                    <a:cubicBezTo>
                      <a:pt x="18145" y="7436"/>
                      <a:pt x="18316" y="6594"/>
                      <a:pt x="18472" y="7217"/>
                    </a:cubicBezTo>
                    <a:cubicBezTo>
                      <a:pt x="18472" y="7217"/>
                      <a:pt x="18612" y="6999"/>
                      <a:pt x="18659" y="7046"/>
                    </a:cubicBezTo>
                    <a:cubicBezTo>
                      <a:pt x="18706" y="7093"/>
                      <a:pt x="19189" y="6344"/>
                      <a:pt x="18768" y="6703"/>
                    </a:cubicBezTo>
                    <a:cubicBezTo>
                      <a:pt x="18347" y="7061"/>
                      <a:pt x="19205" y="6282"/>
                      <a:pt x="19735" y="5752"/>
                    </a:cubicBezTo>
                    <a:cubicBezTo>
                      <a:pt x="21013" y="4770"/>
                      <a:pt x="19735" y="4988"/>
                      <a:pt x="20795" y="4521"/>
                    </a:cubicBezTo>
                    <a:cubicBezTo>
                      <a:pt x="20950" y="4521"/>
                      <a:pt x="21060" y="4599"/>
                      <a:pt x="21169" y="4396"/>
                    </a:cubicBezTo>
                    <a:cubicBezTo>
                      <a:pt x="23897" y="3227"/>
                      <a:pt x="23211" y="3866"/>
                      <a:pt x="24286" y="3351"/>
                    </a:cubicBezTo>
                    <a:cubicBezTo>
                      <a:pt x="23974" y="3523"/>
                      <a:pt x="24286" y="3351"/>
                      <a:pt x="24395" y="3351"/>
                    </a:cubicBezTo>
                    <a:cubicBezTo>
                      <a:pt x="24052" y="3585"/>
                      <a:pt x="24239" y="3351"/>
                      <a:pt x="24146" y="3585"/>
                    </a:cubicBezTo>
                    <a:cubicBezTo>
                      <a:pt x="24286" y="3757"/>
                      <a:pt x="23382" y="3850"/>
                      <a:pt x="23787" y="3819"/>
                    </a:cubicBezTo>
                    <a:cubicBezTo>
                      <a:pt x="24193" y="3788"/>
                      <a:pt x="23647" y="3944"/>
                      <a:pt x="23787" y="3928"/>
                    </a:cubicBezTo>
                    <a:cubicBezTo>
                      <a:pt x="24099" y="3679"/>
                      <a:pt x="23787" y="4069"/>
                      <a:pt x="23663" y="4084"/>
                    </a:cubicBezTo>
                    <a:cubicBezTo>
                      <a:pt x="22946" y="4645"/>
                      <a:pt x="24536" y="3398"/>
                      <a:pt x="23943" y="4193"/>
                    </a:cubicBezTo>
                    <a:cubicBezTo>
                      <a:pt x="23694" y="4396"/>
                      <a:pt x="23429" y="4411"/>
                      <a:pt x="23647" y="4489"/>
                    </a:cubicBezTo>
                    <a:cubicBezTo>
                      <a:pt x="23298" y="4794"/>
                      <a:pt x="23057" y="5205"/>
                      <a:pt x="22961" y="5659"/>
                    </a:cubicBezTo>
                    <a:cubicBezTo>
                      <a:pt x="22868" y="5331"/>
                      <a:pt x="22462" y="5830"/>
                      <a:pt x="22790" y="5783"/>
                    </a:cubicBezTo>
                    <a:cubicBezTo>
                      <a:pt x="22540" y="5986"/>
                      <a:pt x="22790" y="5783"/>
                      <a:pt x="22696" y="5986"/>
                    </a:cubicBezTo>
                    <a:cubicBezTo>
                      <a:pt x="22603" y="6189"/>
                      <a:pt x="22540" y="5986"/>
                      <a:pt x="22462" y="5986"/>
                    </a:cubicBezTo>
                    <a:cubicBezTo>
                      <a:pt x="22385" y="5986"/>
                      <a:pt x="22462" y="6313"/>
                      <a:pt x="22462" y="6142"/>
                    </a:cubicBezTo>
                    <a:cubicBezTo>
                      <a:pt x="22462" y="6235"/>
                      <a:pt x="22743" y="6469"/>
                      <a:pt x="22462" y="6516"/>
                    </a:cubicBezTo>
                    <a:cubicBezTo>
                      <a:pt x="22026" y="6126"/>
                      <a:pt x="22462" y="6874"/>
                      <a:pt x="22182" y="6796"/>
                    </a:cubicBezTo>
                    <a:cubicBezTo>
                      <a:pt x="21745" y="7015"/>
                      <a:pt x="22182" y="6407"/>
                      <a:pt x="21901" y="6796"/>
                    </a:cubicBezTo>
                    <a:cubicBezTo>
                      <a:pt x="21901" y="6609"/>
                      <a:pt x="21605" y="6906"/>
                      <a:pt x="21543" y="6921"/>
                    </a:cubicBezTo>
                    <a:cubicBezTo>
                      <a:pt x="21917" y="6921"/>
                      <a:pt x="21543" y="7046"/>
                      <a:pt x="21543" y="7061"/>
                    </a:cubicBezTo>
                    <a:cubicBezTo>
                      <a:pt x="21995" y="7061"/>
                      <a:pt x="21543" y="7186"/>
                      <a:pt x="21621" y="7249"/>
                    </a:cubicBezTo>
                    <a:cubicBezTo>
                      <a:pt x="22182" y="7342"/>
                      <a:pt x="21340" y="8807"/>
                      <a:pt x="21402" y="7498"/>
                    </a:cubicBezTo>
                    <a:cubicBezTo>
                      <a:pt x="20904" y="7171"/>
                      <a:pt x="21761" y="7856"/>
                      <a:pt x="20997" y="7732"/>
                    </a:cubicBezTo>
                    <a:cubicBezTo>
                      <a:pt x="21137" y="7841"/>
                      <a:pt x="20576" y="7966"/>
                      <a:pt x="20810" y="7919"/>
                    </a:cubicBezTo>
                    <a:cubicBezTo>
                      <a:pt x="21044" y="7872"/>
                      <a:pt x="21169" y="8090"/>
                      <a:pt x="20810" y="8028"/>
                    </a:cubicBezTo>
                    <a:cubicBezTo>
                      <a:pt x="20452" y="7966"/>
                      <a:pt x="21855" y="8028"/>
                      <a:pt x="21278" y="8277"/>
                    </a:cubicBezTo>
                    <a:cubicBezTo>
                      <a:pt x="21278" y="8277"/>
                      <a:pt x="21028" y="8464"/>
                      <a:pt x="20997" y="8418"/>
                    </a:cubicBezTo>
                    <a:cubicBezTo>
                      <a:pt x="20966" y="8371"/>
                      <a:pt x="19844" y="8948"/>
                      <a:pt x="19922" y="8527"/>
                    </a:cubicBezTo>
                    <a:cubicBezTo>
                      <a:pt x="20000" y="8106"/>
                      <a:pt x="19922" y="8745"/>
                      <a:pt x="19812" y="8761"/>
                    </a:cubicBezTo>
                    <a:cubicBezTo>
                      <a:pt x="19407" y="8792"/>
                      <a:pt x="18706" y="9556"/>
                      <a:pt x="18659" y="9182"/>
                    </a:cubicBezTo>
                    <a:close/>
                    <a:moveTo>
                      <a:pt x="21480" y="10382"/>
                    </a:moveTo>
                    <a:cubicBezTo>
                      <a:pt x="21480" y="10507"/>
                      <a:pt x="21293" y="10475"/>
                      <a:pt x="21247" y="10382"/>
                    </a:cubicBezTo>
                    <a:cubicBezTo>
                      <a:pt x="21200" y="10288"/>
                      <a:pt x="21075" y="10382"/>
                      <a:pt x="21122" y="10273"/>
                    </a:cubicBezTo>
                    <a:cubicBezTo>
                      <a:pt x="21169" y="10164"/>
                      <a:pt x="21044" y="10273"/>
                      <a:pt x="21122" y="10273"/>
                    </a:cubicBezTo>
                    <a:cubicBezTo>
                      <a:pt x="21030" y="10296"/>
                      <a:pt x="20933" y="10296"/>
                      <a:pt x="20841" y="10273"/>
                    </a:cubicBezTo>
                    <a:cubicBezTo>
                      <a:pt x="20841" y="10273"/>
                      <a:pt x="20841" y="10273"/>
                      <a:pt x="20841" y="10273"/>
                    </a:cubicBezTo>
                    <a:cubicBezTo>
                      <a:pt x="20841" y="10273"/>
                      <a:pt x="20841" y="10273"/>
                      <a:pt x="20841" y="10195"/>
                    </a:cubicBezTo>
                    <a:cubicBezTo>
                      <a:pt x="20841" y="10117"/>
                      <a:pt x="20841" y="10195"/>
                      <a:pt x="20841" y="10195"/>
                    </a:cubicBezTo>
                    <a:cubicBezTo>
                      <a:pt x="20841" y="10195"/>
                      <a:pt x="20982" y="10070"/>
                      <a:pt x="21060" y="10117"/>
                    </a:cubicBezTo>
                    <a:cubicBezTo>
                      <a:pt x="21137" y="10164"/>
                      <a:pt x="20826" y="10210"/>
                      <a:pt x="21060" y="10008"/>
                    </a:cubicBezTo>
                    <a:cubicBezTo>
                      <a:pt x="21060" y="10086"/>
                      <a:pt x="20919" y="10008"/>
                      <a:pt x="21060" y="9930"/>
                    </a:cubicBezTo>
                    <a:cubicBezTo>
                      <a:pt x="21200" y="9852"/>
                      <a:pt x="20826" y="9930"/>
                      <a:pt x="20826" y="9821"/>
                    </a:cubicBezTo>
                    <a:cubicBezTo>
                      <a:pt x="20826" y="9711"/>
                      <a:pt x="21060" y="9743"/>
                      <a:pt x="21075" y="9821"/>
                    </a:cubicBezTo>
                    <a:cubicBezTo>
                      <a:pt x="21091" y="9899"/>
                      <a:pt x="21231" y="9821"/>
                      <a:pt x="21247" y="9727"/>
                    </a:cubicBezTo>
                    <a:cubicBezTo>
                      <a:pt x="21262" y="9634"/>
                      <a:pt x="21137" y="9727"/>
                      <a:pt x="21247" y="9727"/>
                    </a:cubicBezTo>
                    <a:cubicBezTo>
                      <a:pt x="21356" y="9727"/>
                      <a:pt x="21137" y="9727"/>
                      <a:pt x="21247" y="9649"/>
                    </a:cubicBezTo>
                    <a:cubicBezTo>
                      <a:pt x="21356" y="9571"/>
                      <a:pt x="21247" y="9649"/>
                      <a:pt x="21247" y="9649"/>
                    </a:cubicBezTo>
                    <a:cubicBezTo>
                      <a:pt x="21247" y="9649"/>
                      <a:pt x="21247" y="9727"/>
                      <a:pt x="21247" y="9649"/>
                    </a:cubicBezTo>
                    <a:cubicBezTo>
                      <a:pt x="21247" y="9571"/>
                      <a:pt x="21247" y="9649"/>
                      <a:pt x="21247" y="9649"/>
                    </a:cubicBezTo>
                    <a:cubicBezTo>
                      <a:pt x="21075" y="9867"/>
                      <a:pt x="20982" y="9509"/>
                      <a:pt x="21137" y="9649"/>
                    </a:cubicBezTo>
                    <a:cubicBezTo>
                      <a:pt x="21293" y="9789"/>
                      <a:pt x="21137" y="9509"/>
                      <a:pt x="21137" y="9649"/>
                    </a:cubicBezTo>
                    <a:cubicBezTo>
                      <a:pt x="21137" y="9789"/>
                      <a:pt x="21137" y="9649"/>
                      <a:pt x="21137" y="9649"/>
                    </a:cubicBezTo>
                    <a:cubicBezTo>
                      <a:pt x="21137" y="9649"/>
                      <a:pt x="21137" y="9556"/>
                      <a:pt x="21137" y="9649"/>
                    </a:cubicBezTo>
                    <a:cubicBezTo>
                      <a:pt x="21137" y="9743"/>
                      <a:pt x="21137" y="9509"/>
                      <a:pt x="21137" y="9649"/>
                    </a:cubicBezTo>
                    <a:cubicBezTo>
                      <a:pt x="21137" y="9789"/>
                      <a:pt x="21247" y="9649"/>
                      <a:pt x="21137" y="9649"/>
                    </a:cubicBezTo>
                    <a:cubicBezTo>
                      <a:pt x="21028" y="9649"/>
                      <a:pt x="21231" y="9649"/>
                      <a:pt x="21137" y="9649"/>
                    </a:cubicBezTo>
                    <a:cubicBezTo>
                      <a:pt x="21044" y="9649"/>
                      <a:pt x="20982" y="9509"/>
                      <a:pt x="21137" y="9509"/>
                    </a:cubicBezTo>
                    <a:cubicBezTo>
                      <a:pt x="20872" y="9415"/>
                      <a:pt x="21231" y="9415"/>
                      <a:pt x="21137" y="9602"/>
                    </a:cubicBezTo>
                    <a:cubicBezTo>
                      <a:pt x="21137" y="9602"/>
                      <a:pt x="21137" y="9602"/>
                      <a:pt x="21137" y="9602"/>
                    </a:cubicBezTo>
                    <a:cubicBezTo>
                      <a:pt x="21137" y="9602"/>
                      <a:pt x="21137" y="9711"/>
                      <a:pt x="21137" y="9602"/>
                    </a:cubicBezTo>
                    <a:cubicBezTo>
                      <a:pt x="21147" y="9627"/>
                      <a:pt x="21147" y="9655"/>
                      <a:pt x="21137" y="9680"/>
                    </a:cubicBezTo>
                    <a:cubicBezTo>
                      <a:pt x="21137" y="9680"/>
                      <a:pt x="21137" y="9758"/>
                      <a:pt x="21137" y="9789"/>
                    </a:cubicBezTo>
                    <a:cubicBezTo>
                      <a:pt x="21137" y="9821"/>
                      <a:pt x="21137" y="9789"/>
                      <a:pt x="21137" y="9867"/>
                    </a:cubicBezTo>
                    <a:cubicBezTo>
                      <a:pt x="21156" y="9800"/>
                      <a:pt x="21201" y="9744"/>
                      <a:pt x="21262" y="9711"/>
                    </a:cubicBezTo>
                    <a:cubicBezTo>
                      <a:pt x="21262" y="9899"/>
                      <a:pt x="21262" y="9509"/>
                      <a:pt x="21418" y="9493"/>
                    </a:cubicBezTo>
                    <a:cubicBezTo>
                      <a:pt x="21574" y="9478"/>
                      <a:pt x="21418" y="9602"/>
                      <a:pt x="21418" y="9618"/>
                    </a:cubicBezTo>
                    <a:cubicBezTo>
                      <a:pt x="21418" y="9634"/>
                      <a:pt x="21496" y="9493"/>
                      <a:pt x="21590" y="9509"/>
                    </a:cubicBezTo>
                    <a:cubicBezTo>
                      <a:pt x="21628" y="9598"/>
                      <a:pt x="21628" y="9700"/>
                      <a:pt x="21590" y="9789"/>
                    </a:cubicBezTo>
                    <a:cubicBezTo>
                      <a:pt x="21683" y="9711"/>
                      <a:pt x="21590" y="9493"/>
                      <a:pt x="21745" y="9540"/>
                    </a:cubicBezTo>
                    <a:cubicBezTo>
                      <a:pt x="21901" y="9587"/>
                      <a:pt x="21886" y="9415"/>
                      <a:pt x="21870" y="9540"/>
                    </a:cubicBezTo>
                    <a:cubicBezTo>
                      <a:pt x="21855" y="9665"/>
                      <a:pt x="22104" y="9275"/>
                      <a:pt x="22073" y="9540"/>
                    </a:cubicBezTo>
                    <a:cubicBezTo>
                      <a:pt x="22042" y="9805"/>
                      <a:pt x="22182" y="9400"/>
                      <a:pt x="22260" y="9540"/>
                    </a:cubicBezTo>
                    <a:cubicBezTo>
                      <a:pt x="22338" y="9680"/>
                      <a:pt x="22104" y="9680"/>
                      <a:pt x="22260" y="9649"/>
                    </a:cubicBezTo>
                    <a:cubicBezTo>
                      <a:pt x="22416" y="9618"/>
                      <a:pt x="22166" y="9649"/>
                      <a:pt x="22260" y="9805"/>
                    </a:cubicBezTo>
                    <a:cubicBezTo>
                      <a:pt x="22353" y="9961"/>
                      <a:pt x="22260" y="9805"/>
                      <a:pt x="22260" y="9805"/>
                    </a:cubicBezTo>
                    <a:cubicBezTo>
                      <a:pt x="22462" y="9805"/>
                      <a:pt x="22338" y="9805"/>
                      <a:pt x="22260" y="9914"/>
                    </a:cubicBezTo>
                    <a:cubicBezTo>
                      <a:pt x="22182" y="10023"/>
                      <a:pt x="22260" y="10054"/>
                      <a:pt x="22260" y="10117"/>
                    </a:cubicBezTo>
                    <a:cubicBezTo>
                      <a:pt x="22120" y="9914"/>
                      <a:pt x="22260" y="10382"/>
                      <a:pt x="22042" y="10117"/>
                    </a:cubicBezTo>
                    <a:cubicBezTo>
                      <a:pt x="22042" y="10226"/>
                      <a:pt x="21839" y="10226"/>
                      <a:pt x="21761" y="10335"/>
                    </a:cubicBezTo>
                    <a:lnTo>
                      <a:pt x="21761" y="10335"/>
                    </a:lnTo>
                    <a:cubicBezTo>
                      <a:pt x="21761" y="10335"/>
                      <a:pt x="21636" y="10335"/>
                      <a:pt x="21590" y="10335"/>
                    </a:cubicBezTo>
                    <a:cubicBezTo>
                      <a:pt x="21543" y="10335"/>
                      <a:pt x="21590" y="10335"/>
                      <a:pt x="21590" y="10335"/>
                    </a:cubicBezTo>
                    <a:cubicBezTo>
                      <a:pt x="21590" y="10335"/>
                      <a:pt x="21543" y="10522"/>
                      <a:pt x="21480" y="10382"/>
                    </a:cubicBezTo>
                    <a:close/>
                    <a:moveTo>
                      <a:pt x="34652" y="37692"/>
                    </a:moveTo>
                    <a:cubicBezTo>
                      <a:pt x="34543" y="37412"/>
                      <a:pt x="35011" y="37100"/>
                      <a:pt x="35214" y="36882"/>
                    </a:cubicBezTo>
                    <a:cubicBezTo>
                      <a:pt x="35416" y="36664"/>
                      <a:pt x="35416" y="36056"/>
                      <a:pt x="35884" y="35869"/>
                    </a:cubicBezTo>
                    <a:lnTo>
                      <a:pt x="35884" y="35869"/>
                    </a:lnTo>
                    <a:cubicBezTo>
                      <a:pt x="35884" y="35869"/>
                      <a:pt x="35884" y="35869"/>
                      <a:pt x="35884" y="35869"/>
                    </a:cubicBezTo>
                    <a:cubicBezTo>
                      <a:pt x="35884" y="35869"/>
                      <a:pt x="35977" y="35869"/>
                      <a:pt x="36102" y="35744"/>
                    </a:cubicBezTo>
                    <a:cubicBezTo>
                      <a:pt x="35993" y="36009"/>
                      <a:pt x="36367" y="35463"/>
                      <a:pt x="36258" y="35744"/>
                    </a:cubicBezTo>
                    <a:cubicBezTo>
                      <a:pt x="36149" y="36024"/>
                      <a:pt x="36258" y="35744"/>
                      <a:pt x="36258" y="35744"/>
                    </a:cubicBezTo>
                    <a:cubicBezTo>
                      <a:pt x="36258" y="35744"/>
                      <a:pt x="36258" y="35744"/>
                      <a:pt x="36258" y="35619"/>
                    </a:cubicBezTo>
                    <a:cubicBezTo>
                      <a:pt x="36258" y="35494"/>
                      <a:pt x="36367" y="35619"/>
                      <a:pt x="36258" y="35619"/>
                    </a:cubicBezTo>
                    <a:lnTo>
                      <a:pt x="36258" y="35619"/>
                    </a:lnTo>
                    <a:cubicBezTo>
                      <a:pt x="36258" y="35619"/>
                      <a:pt x="36258" y="35619"/>
                      <a:pt x="36258" y="35728"/>
                    </a:cubicBezTo>
                    <a:cubicBezTo>
                      <a:pt x="36258" y="35837"/>
                      <a:pt x="36383" y="35572"/>
                      <a:pt x="36398" y="35635"/>
                    </a:cubicBezTo>
                    <a:cubicBezTo>
                      <a:pt x="36414" y="35697"/>
                      <a:pt x="36398" y="35635"/>
                      <a:pt x="36398" y="35526"/>
                    </a:cubicBezTo>
                    <a:cubicBezTo>
                      <a:pt x="36398" y="35417"/>
                      <a:pt x="36538" y="35526"/>
                      <a:pt x="36398" y="35432"/>
                    </a:cubicBezTo>
                    <a:cubicBezTo>
                      <a:pt x="36258" y="35339"/>
                      <a:pt x="36398" y="35526"/>
                      <a:pt x="36538" y="35339"/>
                    </a:cubicBezTo>
                    <a:cubicBezTo>
                      <a:pt x="36679" y="35152"/>
                      <a:pt x="36788" y="35152"/>
                      <a:pt x="36741" y="34996"/>
                    </a:cubicBezTo>
                    <a:cubicBezTo>
                      <a:pt x="36694" y="34840"/>
                      <a:pt x="36835" y="34996"/>
                      <a:pt x="36913" y="34887"/>
                    </a:cubicBezTo>
                    <a:cubicBezTo>
                      <a:pt x="36991" y="34777"/>
                      <a:pt x="36913" y="35089"/>
                      <a:pt x="36913" y="35089"/>
                    </a:cubicBezTo>
                    <a:cubicBezTo>
                      <a:pt x="37521" y="35323"/>
                      <a:pt x="34044" y="39532"/>
                      <a:pt x="34652" y="37692"/>
                    </a:cubicBezTo>
                    <a:close/>
                    <a:moveTo>
                      <a:pt x="44613" y="24131"/>
                    </a:moveTo>
                    <a:cubicBezTo>
                      <a:pt x="44613" y="24131"/>
                      <a:pt x="44613" y="24131"/>
                      <a:pt x="44613" y="24131"/>
                    </a:cubicBezTo>
                    <a:cubicBezTo>
                      <a:pt x="44296" y="25340"/>
                      <a:pt x="44062" y="26569"/>
                      <a:pt x="43912" y="27809"/>
                    </a:cubicBezTo>
                    <a:cubicBezTo>
                      <a:pt x="43912" y="27716"/>
                      <a:pt x="43756" y="27934"/>
                      <a:pt x="43756" y="27997"/>
                    </a:cubicBezTo>
                    <a:cubicBezTo>
                      <a:pt x="43584" y="28651"/>
                      <a:pt x="43179" y="24380"/>
                      <a:pt x="43210" y="24006"/>
                    </a:cubicBezTo>
                    <a:cubicBezTo>
                      <a:pt x="43070" y="24006"/>
                      <a:pt x="43210" y="23834"/>
                      <a:pt x="43210" y="23741"/>
                    </a:cubicBezTo>
                    <a:cubicBezTo>
                      <a:pt x="43210" y="23647"/>
                      <a:pt x="43132" y="23741"/>
                      <a:pt x="43132" y="23741"/>
                    </a:cubicBezTo>
                    <a:cubicBezTo>
                      <a:pt x="43132" y="24099"/>
                      <a:pt x="42992" y="24832"/>
                      <a:pt x="42743" y="24146"/>
                    </a:cubicBezTo>
                    <a:cubicBezTo>
                      <a:pt x="42743" y="24146"/>
                      <a:pt x="42571" y="23897"/>
                      <a:pt x="42649" y="23944"/>
                    </a:cubicBezTo>
                    <a:lnTo>
                      <a:pt x="42649" y="23944"/>
                    </a:lnTo>
                    <a:cubicBezTo>
                      <a:pt x="42649" y="24084"/>
                      <a:pt x="42649" y="23944"/>
                      <a:pt x="42649" y="23944"/>
                    </a:cubicBezTo>
                    <a:cubicBezTo>
                      <a:pt x="42649" y="23944"/>
                      <a:pt x="42836" y="23663"/>
                      <a:pt x="42727" y="23632"/>
                    </a:cubicBezTo>
                    <a:cubicBezTo>
                      <a:pt x="42727" y="23944"/>
                      <a:pt x="42275" y="23632"/>
                      <a:pt x="42478" y="23445"/>
                    </a:cubicBezTo>
                    <a:cubicBezTo>
                      <a:pt x="42478" y="23445"/>
                      <a:pt x="42478" y="23538"/>
                      <a:pt x="42368" y="23569"/>
                    </a:cubicBezTo>
                    <a:cubicBezTo>
                      <a:pt x="42259" y="23601"/>
                      <a:pt x="42368" y="23492"/>
                      <a:pt x="42244" y="23569"/>
                    </a:cubicBezTo>
                    <a:cubicBezTo>
                      <a:pt x="42119" y="23647"/>
                      <a:pt x="42244" y="23320"/>
                      <a:pt x="42135" y="23195"/>
                    </a:cubicBezTo>
                    <a:cubicBezTo>
                      <a:pt x="41963" y="23351"/>
                      <a:pt x="42135" y="22977"/>
                      <a:pt x="41854" y="23086"/>
                    </a:cubicBezTo>
                    <a:cubicBezTo>
                      <a:pt x="41854" y="23086"/>
                      <a:pt x="41714" y="23164"/>
                      <a:pt x="41667" y="23242"/>
                    </a:cubicBezTo>
                    <a:cubicBezTo>
                      <a:pt x="41620" y="23320"/>
                      <a:pt x="41573" y="23242"/>
                      <a:pt x="41511" y="23242"/>
                    </a:cubicBezTo>
                    <a:cubicBezTo>
                      <a:pt x="41449" y="23242"/>
                      <a:pt x="41386" y="23242"/>
                      <a:pt x="41340" y="23382"/>
                    </a:cubicBezTo>
                    <a:cubicBezTo>
                      <a:pt x="41293" y="23523"/>
                      <a:pt x="41340" y="23382"/>
                      <a:pt x="41231" y="23382"/>
                    </a:cubicBezTo>
                    <a:cubicBezTo>
                      <a:pt x="41121" y="23382"/>
                      <a:pt x="41075" y="23492"/>
                      <a:pt x="41028" y="23304"/>
                    </a:cubicBezTo>
                    <a:cubicBezTo>
                      <a:pt x="41028" y="23398"/>
                      <a:pt x="40669" y="23304"/>
                      <a:pt x="40591" y="23304"/>
                    </a:cubicBezTo>
                    <a:cubicBezTo>
                      <a:pt x="40513" y="23304"/>
                      <a:pt x="40451" y="23304"/>
                      <a:pt x="40342" y="23304"/>
                    </a:cubicBezTo>
                    <a:cubicBezTo>
                      <a:pt x="40093" y="22400"/>
                      <a:pt x="40061" y="23180"/>
                      <a:pt x="39625" y="23055"/>
                    </a:cubicBezTo>
                    <a:cubicBezTo>
                      <a:pt x="39531" y="23055"/>
                      <a:pt x="39251" y="22946"/>
                      <a:pt x="39282" y="22821"/>
                    </a:cubicBezTo>
                    <a:cubicBezTo>
                      <a:pt x="39313" y="22697"/>
                      <a:pt x="38877" y="22821"/>
                      <a:pt x="38846" y="22509"/>
                    </a:cubicBezTo>
                    <a:cubicBezTo>
                      <a:pt x="38846" y="22509"/>
                      <a:pt x="38736" y="22509"/>
                      <a:pt x="38846" y="22509"/>
                    </a:cubicBezTo>
                    <a:cubicBezTo>
                      <a:pt x="38690" y="22509"/>
                      <a:pt x="38627" y="21948"/>
                      <a:pt x="38456" y="22167"/>
                    </a:cubicBezTo>
                    <a:cubicBezTo>
                      <a:pt x="38456" y="22089"/>
                      <a:pt x="38316" y="22167"/>
                      <a:pt x="38362" y="22026"/>
                    </a:cubicBezTo>
                    <a:cubicBezTo>
                      <a:pt x="38409" y="21886"/>
                      <a:pt x="38362" y="22026"/>
                      <a:pt x="38362" y="22026"/>
                    </a:cubicBezTo>
                    <a:cubicBezTo>
                      <a:pt x="38362" y="22026"/>
                      <a:pt x="38362" y="22229"/>
                      <a:pt x="38362" y="22026"/>
                    </a:cubicBezTo>
                    <a:cubicBezTo>
                      <a:pt x="38362" y="21824"/>
                      <a:pt x="38362" y="22307"/>
                      <a:pt x="38206" y="22322"/>
                    </a:cubicBezTo>
                    <a:lnTo>
                      <a:pt x="38316" y="22322"/>
                    </a:lnTo>
                    <a:lnTo>
                      <a:pt x="38316" y="22322"/>
                    </a:lnTo>
                    <a:cubicBezTo>
                      <a:pt x="38316" y="22322"/>
                      <a:pt x="38316" y="22416"/>
                      <a:pt x="38316" y="22447"/>
                    </a:cubicBezTo>
                    <a:cubicBezTo>
                      <a:pt x="38316" y="22478"/>
                      <a:pt x="38316" y="22541"/>
                      <a:pt x="38316" y="22447"/>
                    </a:cubicBezTo>
                    <a:cubicBezTo>
                      <a:pt x="38351" y="22594"/>
                      <a:pt x="38447" y="22719"/>
                      <a:pt x="38581" y="22790"/>
                    </a:cubicBezTo>
                    <a:cubicBezTo>
                      <a:pt x="38581" y="22790"/>
                      <a:pt x="38861" y="23086"/>
                      <a:pt x="38814" y="23242"/>
                    </a:cubicBezTo>
                    <a:lnTo>
                      <a:pt x="38814" y="23242"/>
                    </a:lnTo>
                    <a:cubicBezTo>
                      <a:pt x="39017" y="23460"/>
                      <a:pt x="39048" y="23881"/>
                      <a:pt x="39064" y="23398"/>
                    </a:cubicBezTo>
                    <a:cubicBezTo>
                      <a:pt x="39064" y="23273"/>
                      <a:pt x="39064" y="23086"/>
                      <a:pt x="39173" y="23258"/>
                    </a:cubicBezTo>
                    <a:cubicBezTo>
                      <a:pt x="39144" y="23402"/>
                      <a:pt x="39144" y="23550"/>
                      <a:pt x="39173" y="23694"/>
                    </a:cubicBezTo>
                    <a:cubicBezTo>
                      <a:pt x="39173" y="23694"/>
                      <a:pt x="39173" y="23866"/>
                      <a:pt x="39173" y="23788"/>
                    </a:cubicBezTo>
                    <a:lnTo>
                      <a:pt x="39173" y="23928"/>
                    </a:lnTo>
                    <a:cubicBezTo>
                      <a:pt x="39360" y="23757"/>
                      <a:pt x="39609" y="23928"/>
                      <a:pt x="39718" y="23679"/>
                    </a:cubicBezTo>
                    <a:lnTo>
                      <a:pt x="39718" y="23679"/>
                    </a:lnTo>
                    <a:cubicBezTo>
                      <a:pt x="39718" y="23445"/>
                      <a:pt x="39952" y="23227"/>
                      <a:pt x="39983" y="22977"/>
                    </a:cubicBezTo>
                    <a:lnTo>
                      <a:pt x="39983" y="22977"/>
                    </a:lnTo>
                    <a:cubicBezTo>
                      <a:pt x="39983" y="22977"/>
                      <a:pt x="39983" y="22821"/>
                      <a:pt x="39983" y="22884"/>
                    </a:cubicBezTo>
                    <a:cubicBezTo>
                      <a:pt x="39983" y="22946"/>
                      <a:pt x="39983" y="23195"/>
                      <a:pt x="39983" y="23149"/>
                    </a:cubicBezTo>
                    <a:cubicBezTo>
                      <a:pt x="39983" y="23460"/>
                      <a:pt x="40155" y="23850"/>
                      <a:pt x="40513" y="23679"/>
                    </a:cubicBezTo>
                    <a:cubicBezTo>
                      <a:pt x="40790" y="23996"/>
                      <a:pt x="40790" y="24468"/>
                      <a:pt x="40513" y="24785"/>
                    </a:cubicBezTo>
                    <a:cubicBezTo>
                      <a:pt x="40513" y="24598"/>
                      <a:pt x="40373" y="25191"/>
                      <a:pt x="40513" y="25300"/>
                    </a:cubicBezTo>
                    <a:cubicBezTo>
                      <a:pt x="40139" y="25300"/>
                      <a:pt x="40389" y="25674"/>
                      <a:pt x="40030" y="25752"/>
                    </a:cubicBezTo>
                    <a:cubicBezTo>
                      <a:pt x="40030" y="25861"/>
                      <a:pt x="40030" y="25954"/>
                      <a:pt x="40030" y="26064"/>
                    </a:cubicBezTo>
                    <a:cubicBezTo>
                      <a:pt x="39792" y="26098"/>
                      <a:pt x="39579" y="26227"/>
                      <a:pt x="39438" y="26422"/>
                    </a:cubicBezTo>
                    <a:cubicBezTo>
                      <a:pt x="39438" y="26749"/>
                      <a:pt x="38955" y="26859"/>
                      <a:pt x="38736" y="27014"/>
                    </a:cubicBezTo>
                    <a:cubicBezTo>
                      <a:pt x="38518" y="27170"/>
                      <a:pt x="38565" y="27264"/>
                      <a:pt x="38440" y="27217"/>
                    </a:cubicBezTo>
                    <a:cubicBezTo>
                      <a:pt x="38341" y="27402"/>
                      <a:pt x="38130" y="27497"/>
                      <a:pt x="37926" y="27451"/>
                    </a:cubicBezTo>
                    <a:cubicBezTo>
                      <a:pt x="37797" y="27641"/>
                      <a:pt x="37592" y="27766"/>
                      <a:pt x="37365" y="27794"/>
                    </a:cubicBezTo>
                    <a:cubicBezTo>
                      <a:pt x="37240" y="27513"/>
                      <a:pt x="37365" y="27139"/>
                      <a:pt x="37115" y="26890"/>
                    </a:cubicBezTo>
                    <a:cubicBezTo>
                      <a:pt x="37349" y="26329"/>
                      <a:pt x="36538" y="25596"/>
                      <a:pt x="36164" y="25144"/>
                    </a:cubicBezTo>
                    <a:cubicBezTo>
                      <a:pt x="36164" y="24770"/>
                      <a:pt x="36071" y="24131"/>
                      <a:pt x="35650" y="24146"/>
                    </a:cubicBezTo>
                    <a:cubicBezTo>
                      <a:pt x="35494" y="23414"/>
                      <a:pt x="34637" y="23024"/>
                      <a:pt x="34793" y="22463"/>
                    </a:cubicBezTo>
                    <a:cubicBezTo>
                      <a:pt x="34684" y="22665"/>
                      <a:pt x="34793" y="22915"/>
                      <a:pt x="34668" y="23086"/>
                    </a:cubicBezTo>
                    <a:cubicBezTo>
                      <a:pt x="34438" y="22899"/>
                      <a:pt x="34238" y="22679"/>
                      <a:pt x="34076" y="22432"/>
                    </a:cubicBezTo>
                    <a:cubicBezTo>
                      <a:pt x="34341" y="23024"/>
                      <a:pt x="34761" y="23616"/>
                      <a:pt x="35104" y="24224"/>
                    </a:cubicBezTo>
                    <a:lnTo>
                      <a:pt x="35104" y="24224"/>
                    </a:lnTo>
                    <a:cubicBezTo>
                      <a:pt x="35138" y="24273"/>
                      <a:pt x="35180" y="24316"/>
                      <a:pt x="35229" y="24349"/>
                    </a:cubicBezTo>
                    <a:cubicBezTo>
                      <a:pt x="35229" y="24349"/>
                      <a:pt x="35136" y="24349"/>
                      <a:pt x="35120" y="24349"/>
                    </a:cubicBezTo>
                    <a:cubicBezTo>
                      <a:pt x="35120" y="24801"/>
                      <a:pt x="35603" y="24785"/>
                      <a:pt x="35681" y="25253"/>
                    </a:cubicBezTo>
                    <a:cubicBezTo>
                      <a:pt x="35556" y="25253"/>
                      <a:pt x="35775" y="25580"/>
                      <a:pt x="35681" y="25752"/>
                    </a:cubicBezTo>
                    <a:cubicBezTo>
                      <a:pt x="35588" y="25923"/>
                      <a:pt x="35977" y="26064"/>
                      <a:pt x="36040" y="26219"/>
                    </a:cubicBezTo>
                    <a:cubicBezTo>
                      <a:pt x="36102" y="26375"/>
                      <a:pt x="36196" y="26827"/>
                      <a:pt x="36320" y="26968"/>
                    </a:cubicBezTo>
                    <a:cubicBezTo>
                      <a:pt x="36445" y="27108"/>
                      <a:pt x="36429" y="27233"/>
                      <a:pt x="36320" y="27046"/>
                    </a:cubicBezTo>
                    <a:cubicBezTo>
                      <a:pt x="36211" y="26859"/>
                      <a:pt x="36320" y="27264"/>
                      <a:pt x="36476" y="27170"/>
                    </a:cubicBezTo>
                    <a:cubicBezTo>
                      <a:pt x="36819" y="27170"/>
                      <a:pt x="36944" y="27763"/>
                      <a:pt x="37146" y="27794"/>
                    </a:cubicBezTo>
                    <a:cubicBezTo>
                      <a:pt x="37349" y="27825"/>
                      <a:pt x="37146" y="27903"/>
                      <a:pt x="37240" y="27903"/>
                    </a:cubicBezTo>
                    <a:cubicBezTo>
                      <a:pt x="37242" y="28033"/>
                      <a:pt x="37150" y="28145"/>
                      <a:pt x="37022" y="28168"/>
                    </a:cubicBezTo>
                    <a:cubicBezTo>
                      <a:pt x="37240" y="28168"/>
                      <a:pt x="37287" y="28464"/>
                      <a:pt x="37505" y="28542"/>
                    </a:cubicBezTo>
                    <a:cubicBezTo>
                      <a:pt x="37918" y="28320"/>
                      <a:pt x="38358" y="28152"/>
                      <a:pt x="38814" y="28043"/>
                    </a:cubicBezTo>
                    <a:cubicBezTo>
                      <a:pt x="38894" y="27982"/>
                      <a:pt x="38962" y="27909"/>
                      <a:pt x="39017" y="27825"/>
                    </a:cubicBezTo>
                    <a:cubicBezTo>
                      <a:pt x="39173" y="27825"/>
                      <a:pt x="39017" y="28152"/>
                      <a:pt x="39017" y="28324"/>
                    </a:cubicBezTo>
                    <a:cubicBezTo>
                      <a:pt x="39017" y="28495"/>
                      <a:pt x="39017" y="28324"/>
                      <a:pt x="39017" y="28324"/>
                    </a:cubicBezTo>
                    <a:cubicBezTo>
                      <a:pt x="38736" y="30475"/>
                      <a:pt x="35541" y="31753"/>
                      <a:pt x="35323" y="33608"/>
                    </a:cubicBezTo>
                    <a:cubicBezTo>
                      <a:pt x="35323" y="33608"/>
                      <a:pt x="35136" y="33764"/>
                      <a:pt x="35214" y="33858"/>
                    </a:cubicBezTo>
                    <a:cubicBezTo>
                      <a:pt x="35291" y="33951"/>
                      <a:pt x="35026" y="34372"/>
                      <a:pt x="35214" y="34497"/>
                    </a:cubicBezTo>
                    <a:cubicBezTo>
                      <a:pt x="35058" y="34855"/>
                      <a:pt x="34933" y="35385"/>
                      <a:pt x="34808" y="35619"/>
                    </a:cubicBezTo>
                    <a:cubicBezTo>
                      <a:pt x="34684" y="35853"/>
                      <a:pt x="34621" y="35728"/>
                      <a:pt x="34808" y="35713"/>
                    </a:cubicBezTo>
                    <a:cubicBezTo>
                      <a:pt x="34543" y="36102"/>
                      <a:pt x="34044" y="36212"/>
                      <a:pt x="33686" y="36477"/>
                    </a:cubicBezTo>
                    <a:lnTo>
                      <a:pt x="33686" y="36477"/>
                    </a:lnTo>
                    <a:cubicBezTo>
                      <a:pt x="33489" y="36693"/>
                      <a:pt x="33235" y="36850"/>
                      <a:pt x="32953" y="36929"/>
                    </a:cubicBezTo>
                    <a:cubicBezTo>
                      <a:pt x="32979" y="36983"/>
                      <a:pt x="32979" y="37046"/>
                      <a:pt x="32953" y="37100"/>
                    </a:cubicBezTo>
                    <a:cubicBezTo>
                      <a:pt x="32953" y="37100"/>
                      <a:pt x="32953" y="37209"/>
                      <a:pt x="32953" y="37240"/>
                    </a:cubicBezTo>
                    <a:cubicBezTo>
                      <a:pt x="32953" y="37272"/>
                      <a:pt x="32953" y="37474"/>
                      <a:pt x="32953" y="37568"/>
                    </a:cubicBezTo>
                    <a:cubicBezTo>
                      <a:pt x="32953" y="37661"/>
                      <a:pt x="32953" y="37490"/>
                      <a:pt x="32953" y="37474"/>
                    </a:cubicBezTo>
                    <a:lnTo>
                      <a:pt x="32953" y="37474"/>
                    </a:lnTo>
                    <a:lnTo>
                      <a:pt x="32953" y="37474"/>
                    </a:lnTo>
                    <a:cubicBezTo>
                      <a:pt x="32953" y="37614"/>
                      <a:pt x="32782" y="37724"/>
                      <a:pt x="32719" y="37848"/>
                    </a:cubicBezTo>
                    <a:lnTo>
                      <a:pt x="32719" y="37848"/>
                    </a:lnTo>
                    <a:cubicBezTo>
                      <a:pt x="32548" y="38222"/>
                      <a:pt x="31878" y="38113"/>
                      <a:pt x="31769" y="38472"/>
                    </a:cubicBezTo>
                    <a:lnTo>
                      <a:pt x="31878" y="38472"/>
                    </a:lnTo>
                    <a:cubicBezTo>
                      <a:pt x="31839" y="38544"/>
                      <a:pt x="31786" y="38608"/>
                      <a:pt x="31722" y="38659"/>
                    </a:cubicBezTo>
                    <a:lnTo>
                      <a:pt x="31722" y="38659"/>
                    </a:lnTo>
                    <a:cubicBezTo>
                      <a:pt x="31003" y="39409"/>
                      <a:pt x="30091" y="39948"/>
                      <a:pt x="29087" y="40218"/>
                    </a:cubicBezTo>
                    <a:cubicBezTo>
                      <a:pt x="28667" y="40077"/>
                      <a:pt x="28246" y="40342"/>
                      <a:pt x="27825" y="40311"/>
                    </a:cubicBezTo>
                    <a:cubicBezTo>
                      <a:pt x="27825" y="40233"/>
                      <a:pt x="27825" y="40311"/>
                      <a:pt x="27825" y="40311"/>
                    </a:cubicBezTo>
                    <a:cubicBezTo>
                      <a:pt x="27825" y="40311"/>
                      <a:pt x="27731" y="40233"/>
                      <a:pt x="27825" y="40311"/>
                    </a:cubicBezTo>
                    <a:cubicBezTo>
                      <a:pt x="27918" y="40389"/>
                      <a:pt x="27949" y="40140"/>
                      <a:pt x="27825" y="40015"/>
                    </a:cubicBezTo>
                    <a:cubicBezTo>
                      <a:pt x="28121" y="39875"/>
                      <a:pt x="27825" y="39485"/>
                      <a:pt x="27825" y="39204"/>
                    </a:cubicBezTo>
                    <a:cubicBezTo>
                      <a:pt x="27342" y="38472"/>
                      <a:pt x="27622" y="37381"/>
                      <a:pt x="27077" y="36570"/>
                    </a:cubicBezTo>
                    <a:cubicBezTo>
                      <a:pt x="27077" y="35728"/>
                      <a:pt x="28324" y="35354"/>
                      <a:pt x="27762" y="34528"/>
                    </a:cubicBezTo>
                    <a:cubicBezTo>
                      <a:pt x="28012" y="34341"/>
                      <a:pt x="27762" y="33967"/>
                      <a:pt x="27653" y="33764"/>
                    </a:cubicBezTo>
                    <a:lnTo>
                      <a:pt x="27747" y="33764"/>
                    </a:lnTo>
                    <a:cubicBezTo>
                      <a:pt x="27747" y="33764"/>
                      <a:pt x="27529" y="33764"/>
                      <a:pt x="27638" y="33624"/>
                    </a:cubicBezTo>
                    <a:cubicBezTo>
                      <a:pt x="27451" y="33078"/>
                      <a:pt x="26827" y="32891"/>
                      <a:pt x="26702" y="32314"/>
                    </a:cubicBezTo>
                    <a:cubicBezTo>
                      <a:pt x="26843" y="32314"/>
                      <a:pt x="26874" y="32205"/>
                      <a:pt x="26889" y="32034"/>
                    </a:cubicBezTo>
                    <a:cubicBezTo>
                      <a:pt x="26905" y="31862"/>
                      <a:pt x="27014" y="32034"/>
                      <a:pt x="27061" y="32034"/>
                    </a:cubicBezTo>
                    <a:cubicBezTo>
                      <a:pt x="26990" y="32037"/>
                      <a:pt x="26926" y="31992"/>
                      <a:pt x="26905" y="31925"/>
                    </a:cubicBezTo>
                    <a:cubicBezTo>
                      <a:pt x="27014" y="31925"/>
                      <a:pt x="26999" y="31816"/>
                      <a:pt x="26905" y="31800"/>
                    </a:cubicBezTo>
                    <a:cubicBezTo>
                      <a:pt x="27132" y="31576"/>
                      <a:pt x="27200" y="31237"/>
                      <a:pt x="27077" y="30943"/>
                    </a:cubicBezTo>
                    <a:cubicBezTo>
                      <a:pt x="26936" y="31036"/>
                      <a:pt x="26874" y="30943"/>
                      <a:pt x="26874" y="30771"/>
                    </a:cubicBezTo>
                    <a:cubicBezTo>
                      <a:pt x="26826" y="30817"/>
                      <a:pt x="26751" y="30817"/>
                      <a:pt x="26702" y="30771"/>
                    </a:cubicBezTo>
                    <a:cubicBezTo>
                      <a:pt x="26562" y="30943"/>
                      <a:pt x="26110" y="30927"/>
                      <a:pt x="25861" y="30896"/>
                    </a:cubicBezTo>
                    <a:cubicBezTo>
                      <a:pt x="25518" y="29774"/>
                      <a:pt x="24302" y="30428"/>
                      <a:pt x="23538" y="30693"/>
                    </a:cubicBezTo>
                    <a:cubicBezTo>
                      <a:pt x="21979" y="30226"/>
                      <a:pt x="21745" y="31301"/>
                      <a:pt x="20420" y="29664"/>
                    </a:cubicBezTo>
                    <a:cubicBezTo>
                      <a:pt x="20265" y="29664"/>
                      <a:pt x="20296" y="29431"/>
                      <a:pt x="20171" y="29368"/>
                    </a:cubicBezTo>
                    <a:cubicBezTo>
                      <a:pt x="20046" y="29306"/>
                      <a:pt x="20171" y="29259"/>
                      <a:pt x="20171" y="29166"/>
                    </a:cubicBezTo>
                    <a:cubicBezTo>
                      <a:pt x="20171" y="29072"/>
                      <a:pt x="19859" y="28947"/>
                      <a:pt x="19953" y="28885"/>
                    </a:cubicBezTo>
                    <a:cubicBezTo>
                      <a:pt x="19610" y="28885"/>
                      <a:pt x="19797" y="28573"/>
                      <a:pt x="19594" y="28620"/>
                    </a:cubicBezTo>
                    <a:cubicBezTo>
                      <a:pt x="19392" y="28667"/>
                      <a:pt x="19594" y="28542"/>
                      <a:pt x="19454" y="28542"/>
                    </a:cubicBezTo>
                    <a:lnTo>
                      <a:pt x="19454" y="28542"/>
                    </a:lnTo>
                    <a:lnTo>
                      <a:pt x="19454" y="28542"/>
                    </a:lnTo>
                    <a:cubicBezTo>
                      <a:pt x="19454" y="28542"/>
                      <a:pt x="19454" y="28542"/>
                      <a:pt x="19454" y="28449"/>
                    </a:cubicBezTo>
                    <a:cubicBezTo>
                      <a:pt x="19454" y="28355"/>
                      <a:pt x="19625" y="28449"/>
                      <a:pt x="19641" y="28449"/>
                    </a:cubicBezTo>
                    <a:cubicBezTo>
                      <a:pt x="19657" y="28449"/>
                      <a:pt x="19127" y="28449"/>
                      <a:pt x="19282" y="28277"/>
                    </a:cubicBezTo>
                    <a:cubicBezTo>
                      <a:pt x="19158" y="28277"/>
                      <a:pt x="19127" y="28277"/>
                      <a:pt x="19095" y="28121"/>
                    </a:cubicBezTo>
                    <a:cubicBezTo>
                      <a:pt x="19064" y="27965"/>
                      <a:pt x="19205" y="28121"/>
                      <a:pt x="19251" y="28121"/>
                    </a:cubicBezTo>
                    <a:cubicBezTo>
                      <a:pt x="19298" y="28121"/>
                      <a:pt x="19127" y="28121"/>
                      <a:pt x="19080" y="28121"/>
                    </a:cubicBezTo>
                    <a:cubicBezTo>
                      <a:pt x="19033" y="28121"/>
                      <a:pt x="19080" y="27997"/>
                      <a:pt x="19080" y="27934"/>
                    </a:cubicBezTo>
                    <a:cubicBezTo>
                      <a:pt x="19080" y="27872"/>
                      <a:pt x="19220" y="28074"/>
                      <a:pt x="19329" y="27934"/>
                    </a:cubicBezTo>
                    <a:cubicBezTo>
                      <a:pt x="19438" y="27794"/>
                      <a:pt x="19080" y="27856"/>
                      <a:pt x="19189" y="27794"/>
                    </a:cubicBezTo>
                    <a:lnTo>
                      <a:pt x="19189" y="27794"/>
                    </a:lnTo>
                    <a:cubicBezTo>
                      <a:pt x="19189" y="27794"/>
                      <a:pt x="19049" y="27560"/>
                      <a:pt x="18986" y="27498"/>
                    </a:cubicBezTo>
                    <a:cubicBezTo>
                      <a:pt x="19389" y="27087"/>
                      <a:pt x="19533" y="26488"/>
                      <a:pt x="19360" y="25939"/>
                    </a:cubicBezTo>
                    <a:cubicBezTo>
                      <a:pt x="19485" y="25939"/>
                      <a:pt x="19360" y="25767"/>
                      <a:pt x="19454" y="25736"/>
                    </a:cubicBezTo>
                    <a:cubicBezTo>
                      <a:pt x="19547" y="25705"/>
                      <a:pt x="19298" y="25643"/>
                      <a:pt x="19282" y="25534"/>
                    </a:cubicBezTo>
                    <a:lnTo>
                      <a:pt x="19282" y="25612"/>
                    </a:lnTo>
                    <a:cubicBezTo>
                      <a:pt x="19265" y="25345"/>
                      <a:pt x="19382" y="25087"/>
                      <a:pt x="19594" y="24926"/>
                    </a:cubicBezTo>
                    <a:cubicBezTo>
                      <a:pt x="19922" y="23866"/>
                      <a:pt x="20966" y="23445"/>
                      <a:pt x="21714" y="22728"/>
                    </a:cubicBezTo>
                    <a:cubicBezTo>
                      <a:pt x="21722" y="22582"/>
                      <a:pt x="21722" y="22437"/>
                      <a:pt x="21714" y="22291"/>
                    </a:cubicBezTo>
                    <a:cubicBezTo>
                      <a:pt x="21714" y="22120"/>
                      <a:pt x="22042" y="22042"/>
                      <a:pt x="21901" y="21855"/>
                    </a:cubicBezTo>
                    <a:cubicBezTo>
                      <a:pt x="22394" y="21610"/>
                      <a:pt x="22814" y="21239"/>
                      <a:pt x="23117" y="20779"/>
                    </a:cubicBezTo>
                    <a:cubicBezTo>
                      <a:pt x="23117" y="21091"/>
                      <a:pt x="23600" y="21075"/>
                      <a:pt x="23772" y="20966"/>
                    </a:cubicBezTo>
                    <a:cubicBezTo>
                      <a:pt x="24068" y="21325"/>
                      <a:pt x="24707" y="20717"/>
                      <a:pt x="25034" y="20623"/>
                    </a:cubicBezTo>
                    <a:cubicBezTo>
                      <a:pt x="25362" y="20530"/>
                      <a:pt x="26110" y="20623"/>
                      <a:pt x="26375" y="20499"/>
                    </a:cubicBezTo>
                    <a:cubicBezTo>
                      <a:pt x="26640" y="20374"/>
                      <a:pt x="26578" y="20717"/>
                      <a:pt x="26656" y="20499"/>
                    </a:cubicBezTo>
                    <a:cubicBezTo>
                      <a:pt x="26905" y="20717"/>
                      <a:pt x="27170" y="20374"/>
                      <a:pt x="27373" y="20499"/>
                    </a:cubicBezTo>
                    <a:cubicBezTo>
                      <a:pt x="27373" y="20327"/>
                      <a:pt x="27497" y="20623"/>
                      <a:pt x="27575" y="20670"/>
                    </a:cubicBezTo>
                    <a:cubicBezTo>
                      <a:pt x="27903" y="20343"/>
                      <a:pt x="27669" y="20748"/>
                      <a:pt x="27575" y="20888"/>
                    </a:cubicBezTo>
                    <a:cubicBezTo>
                      <a:pt x="28152" y="21278"/>
                      <a:pt x="27186" y="21434"/>
                      <a:pt x="27575" y="21699"/>
                    </a:cubicBezTo>
                    <a:cubicBezTo>
                      <a:pt x="27575" y="21699"/>
                      <a:pt x="27575" y="21699"/>
                      <a:pt x="27684" y="21699"/>
                    </a:cubicBezTo>
                    <a:cubicBezTo>
                      <a:pt x="27794" y="21699"/>
                      <a:pt x="27684" y="21621"/>
                      <a:pt x="27684" y="21699"/>
                    </a:cubicBezTo>
                    <a:cubicBezTo>
                      <a:pt x="27840" y="22073"/>
                      <a:pt x="28417" y="21792"/>
                      <a:pt x="28698" y="21995"/>
                    </a:cubicBezTo>
                    <a:cubicBezTo>
                      <a:pt x="31628" y="24022"/>
                      <a:pt x="29352" y="21387"/>
                      <a:pt x="31285" y="21995"/>
                    </a:cubicBezTo>
                    <a:cubicBezTo>
                      <a:pt x="31613" y="22307"/>
                      <a:pt x="32345" y="22213"/>
                      <a:pt x="32844" y="22416"/>
                    </a:cubicBezTo>
                    <a:cubicBezTo>
                      <a:pt x="33343" y="22619"/>
                      <a:pt x="33327" y="22322"/>
                      <a:pt x="33655" y="22229"/>
                    </a:cubicBezTo>
                    <a:cubicBezTo>
                      <a:pt x="33436" y="22307"/>
                      <a:pt x="33655" y="22229"/>
                      <a:pt x="33748" y="22229"/>
                    </a:cubicBezTo>
                    <a:cubicBezTo>
                      <a:pt x="33842" y="22229"/>
                      <a:pt x="33748" y="22229"/>
                      <a:pt x="33748" y="22229"/>
                    </a:cubicBezTo>
                    <a:cubicBezTo>
                      <a:pt x="33748" y="22229"/>
                      <a:pt x="33951" y="22229"/>
                      <a:pt x="33998" y="22229"/>
                    </a:cubicBezTo>
                    <a:cubicBezTo>
                      <a:pt x="34044" y="22229"/>
                      <a:pt x="34091" y="22338"/>
                      <a:pt x="34091" y="22385"/>
                    </a:cubicBezTo>
                    <a:cubicBezTo>
                      <a:pt x="34091" y="22432"/>
                      <a:pt x="34091" y="22291"/>
                      <a:pt x="34091" y="22229"/>
                    </a:cubicBezTo>
                    <a:cubicBezTo>
                      <a:pt x="35151" y="22587"/>
                      <a:pt x="34793" y="20670"/>
                      <a:pt x="34855" y="20312"/>
                    </a:cubicBezTo>
                    <a:cubicBezTo>
                      <a:pt x="34684" y="20452"/>
                      <a:pt x="34387" y="20312"/>
                      <a:pt x="34341" y="20561"/>
                    </a:cubicBezTo>
                    <a:cubicBezTo>
                      <a:pt x="34029" y="20919"/>
                      <a:pt x="33374" y="20062"/>
                      <a:pt x="33374" y="20561"/>
                    </a:cubicBezTo>
                    <a:cubicBezTo>
                      <a:pt x="33234" y="20561"/>
                      <a:pt x="32875" y="20717"/>
                      <a:pt x="32922" y="20452"/>
                    </a:cubicBezTo>
                    <a:cubicBezTo>
                      <a:pt x="32922" y="20452"/>
                      <a:pt x="32922" y="20452"/>
                      <a:pt x="32797" y="20452"/>
                    </a:cubicBezTo>
                    <a:cubicBezTo>
                      <a:pt x="32673" y="20452"/>
                      <a:pt x="32626" y="20592"/>
                      <a:pt x="32610" y="20452"/>
                    </a:cubicBezTo>
                    <a:lnTo>
                      <a:pt x="32423" y="20452"/>
                    </a:lnTo>
                    <a:cubicBezTo>
                      <a:pt x="32423" y="20374"/>
                      <a:pt x="32626" y="20452"/>
                      <a:pt x="32626" y="20327"/>
                    </a:cubicBezTo>
                    <a:cubicBezTo>
                      <a:pt x="32626" y="20202"/>
                      <a:pt x="32267" y="20421"/>
                      <a:pt x="32454" y="20327"/>
                    </a:cubicBezTo>
                    <a:cubicBezTo>
                      <a:pt x="32236" y="20187"/>
                      <a:pt x="32454" y="20062"/>
                      <a:pt x="32127" y="19984"/>
                    </a:cubicBezTo>
                    <a:cubicBezTo>
                      <a:pt x="31800" y="19906"/>
                      <a:pt x="32127" y="19859"/>
                      <a:pt x="32127" y="19813"/>
                    </a:cubicBezTo>
                    <a:cubicBezTo>
                      <a:pt x="32127" y="19766"/>
                      <a:pt x="32127" y="19922"/>
                      <a:pt x="32283" y="19813"/>
                    </a:cubicBezTo>
                    <a:lnTo>
                      <a:pt x="32283" y="19813"/>
                    </a:lnTo>
                    <a:cubicBezTo>
                      <a:pt x="32283" y="19813"/>
                      <a:pt x="32408" y="19813"/>
                      <a:pt x="32376" y="19688"/>
                    </a:cubicBezTo>
                    <a:cubicBezTo>
                      <a:pt x="32345" y="19563"/>
                      <a:pt x="32221" y="19532"/>
                      <a:pt x="32376" y="19501"/>
                    </a:cubicBezTo>
                    <a:cubicBezTo>
                      <a:pt x="31940" y="19657"/>
                      <a:pt x="32158" y="19002"/>
                      <a:pt x="32470" y="19220"/>
                    </a:cubicBezTo>
                    <a:cubicBezTo>
                      <a:pt x="32470" y="19096"/>
                      <a:pt x="32735" y="19220"/>
                      <a:pt x="32875" y="19220"/>
                    </a:cubicBezTo>
                    <a:cubicBezTo>
                      <a:pt x="32595" y="19111"/>
                      <a:pt x="33000" y="19127"/>
                      <a:pt x="33031" y="19049"/>
                    </a:cubicBezTo>
                    <a:cubicBezTo>
                      <a:pt x="32376" y="18846"/>
                      <a:pt x="33374" y="18940"/>
                      <a:pt x="33421" y="18862"/>
                    </a:cubicBezTo>
                    <a:cubicBezTo>
                      <a:pt x="33546" y="18519"/>
                      <a:pt x="34013" y="18566"/>
                      <a:pt x="34294" y="18488"/>
                    </a:cubicBezTo>
                    <a:cubicBezTo>
                      <a:pt x="34294" y="18644"/>
                      <a:pt x="34450" y="18659"/>
                      <a:pt x="34543" y="18488"/>
                    </a:cubicBezTo>
                    <a:cubicBezTo>
                      <a:pt x="34637" y="18316"/>
                      <a:pt x="34668" y="18753"/>
                      <a:pt x="34746" y="18628"/>
                    </a:cubicBezTo>
                    <a:cubicBezTo>
                      <a:pt x="36991" y="19080"/>
                      <a:pt x="35385" y="17537"/>
                      <a:pt x="34356" y="17287"/>
                    </a:cubicBezTo>
                    <a:cubicBezTo>
                      <a:pt x="34356" y="17287"/>
                      <a:pt x="34356" y="17287"/>
                      <a:pt x="34356" y="17163"/>
                    </a:cubicBezTo>
                    <a:cubicBezTo>
                      <a:pt x="34356" y="17038"/>
                      <a:pt x="34543" y="17163"/>
                      <a:pt x="34465" y="17054"/>
                    </a:cubicBezTo>
                    <a:cubicBezTo>
                      <a:pt x="34387" y="16944"/>
                      <a:pt x="34668" y="16913"/>
                      <a:pt x="34465" y="16835"/>
                    </a:cubicBezTo>
                    <a:cubicBezTo>
                      <a:pt x="34263" y="16757"/>
                      <a:pt x="34372" y="16835"/>
                      <a:pt x="34356" y="16742"/>
                    </a:cubicBezTo>
                    <a:cubicBezTo>
                      <a:pt x="34341" y="16648"/>
                      <a:pt x="34512" y="16742"/>
                      <a:pt x="34512" y="16742"/>
                    </a:cubicBezTo>
                    <a:cubicBezTo>
                      <a:pt x="34512" y="16742"/>
                      <a:pt x="34637" y="16617"/>
                      <a:pt x="34606" y="16539"/>
                    </a:cubicBezTo>
                    <a:cubicBezTo>
                      <a:pt x="34574" y="16461"/>
                      <a:pt x="34169" y="16539"/>
                      <a:pt x="34076" y="16789"/>
                    </a:cubicBezTo>
                    <a:cubicBezTo>
                      <a:pt x="34076" y="16789"/>
                      <a:pt x="33982" y="16867"/>
                      <a:pt x="33904" y="16789"/>
                    </a:cubicBezTo>
                    <a:cubicBezTo>
                      <a:pt x="33826" y="16711"/>
                      <a:pt x="33811" y="16789"/>
                      <a:pt x="33764" y="16789"/>
                    </a:cubicBezTo>
                    <a:cubicBezTo>
                      <a:pt x="33717" y="16789"/>
                      <a:pt x="33764" y="17038"/>
                      <a:pt x="33764" y="16976"/>
                    </a:cubicBezTo>
                    <a:cubicBezTo>
                      <a:pt x="33764" y="16913"/>
                      <a:pt x="33764" y="16867"/>
                      <a:pt x="33764" y="16851"/>
                    </a:cubicBezTo>
                    <a:cubicBezTo>
                      <a:pt x="33764" y="16835"/>
                      <a:pt x="33546" y="16991"/>
                      <a:pt x="33468" y="17054"/>
                    </a:cubicBezTo>
                    <a:cubicBezTo>
                      <a:pt x="33390" y="17116"/>
                      <a:pt x="33733" y="17054"/>
                      <a:pt x="33701" y="17194"/>
                    </a:cubicBezTo>
                    <a:cubicBezTo>
                      <a:pt x="33670" y="17334"/>
                      <a:pt x="33701" y="17194"/>
                      <a:pt x="33701" y="17194"/>
                    </a:cubicBezTo>
                    <a:cubicBezTo>
                      <a:pt x="33701" y="17194"/>
                      <a:pt x="33701" y="17303"/>
                      <a:pt x="33873" y="17287"/>
                    </a:cubicBezTo>
                    <a:cubicBezTo>
                      <a:pt x="34044" y="17272"/>
                      <a:pt x="33592" y="17085"/>
                      <a:pt x="33655" y="16976"/>
                    </a:cubicBezTo>
                    <a:cubicBezTo>
                      <a:pt x="33717" y="16867"/>
                      <a:pt x="33826" y="17225"/>
                      <a:pt x="33935" y="17256"/>
                    </a:cubicBezTo>
                    <a:cubicBezTo>
                      <a:pt x="34044" y="17287"/>
                      <a:pt x="33935" y="17256"/>
                      <a:pt x="34044" y="17256"/>
                    </a:cubicBezTo>
                    <a:cubicBezTo>
                      <a:pt x="34154" y="17256"/>
                      <a:pt x="34138" y="17178"/>
                      <a:pt x="34200" y="17178"/>
                    </a:cubicBezTo>
                    <a:cubicBezTo>
                      <a:pt x="34263" y="17178"/>
                      <a:pt x="34200" y="17381"/>
                      <a:pt x="33998" y="17334"/>
                    </a:cubicBezTo>
                    <a:cubicBezTo>
                      <a:pt x="33795" y="17287"/>
                      <a:pt x="33452" y="17833"/>
                      <a:pt x="33499" y="17334"/>
                    </a:cubicBezTo>
                    <a:cubicBezTo>
                      <a:pt x="33374" y="17225"/>
                      <a:pt x="33094" y="17334"/>
                      <a:pt x="33359" y="17116"/>
                    </a:cubicBezTo>
                    <a:cubicBezTo>
                      <a:pt x="33624" y="16898"/>
                      <a:pt x="33234" y="16882"/>
                      <a:pt x="33125" y="17007"/>
                    </a:cubicBezTo>
                    <a:cubicBezTo>
                      <a:pt x="33016" y="17132"/>
                      <a:pt x="32953" y="17007"/>
                      <a:pt x="33016" y="16898"/>
                    </a:cubicBezTo>
                    <a:cubicBezTo>
                      <a:pt x="33078" y="16789"/>
                      <a:pt x="32844" y="16898"/>
                      <a:pt x="32813" y="16898"/>
                    </a:cubicBezTo>
                    <a:cubicBezTo>
                      <a:pt x="32782" y="16898"/>
                      <a:pt x="33016" y="16898"/>
                      <a:pt x="33078" y="16898"/>
                    </a:cubicBezTo>
                    <a:cubicBezTo>
                      <a:pt x="33030" y="16943"/>
                      <a:pt x="32955" y="16943"/>
                      <a:pt x="32906" y="16898"/>
                    </a:cubicBezTo>
                    <a:cubicBezTo>
                      <a:pt x="32906" y="17054"/>
                      <a:pt x="32782" y="16898"/>
                      <a:pt x="32751" y="17007"/>
                    </a:cubicBezTo>
                    <a:cubicBezTo>
                      <a:pt x="32719" y="17116"/>
                      <a:pt x="32751" y="17178"/>
                      <a:pt x="32595" y="17194"/>
                    </a:cubicBezTo>
                    <a:cubicBezTo>
                      <a:pt x="32439" y="17209"/>
                      <a:pt x="32595" y="17443"/>
                      <a:pt x="32486" y="17319"/>
                    </a:cubicBezTo>
                    <a:cubicBezTo>
                      <a:pt x="32595" y="17599"/>
                      <a:pt x="32486" y="17615"/>
                      <a:pt x="32314" y="17786"/>
                    </a:cubicBezTo>
                    <a:cubicBezTo>
                      <a:pt x="32143" y="17958"/>
                      <a:pt x="32314" y="18020"/>
                      <a:pt x="32314" y="18145"/>
                    </a:cubicBezTo>
                    <a:cubicBezTo>
                      <a:pt x="32314" y="18269"/>
                      <a:pt x="32127" y="18238"/>
                      <a:pt x="32189" y="18379"/>
                    </a:cubicBezTo>
                    <a:cubicBezTo>
                      <a:pt x="32252" y="18519"/>
                      <a:pt x="32314" y="18550"/>
                      <a:pt x="32314" y="18784"/>
                    </a:cubicBezTo>
                    <a:cubicBezTo>
                      <a:pt x="32314" y="19018"/>
                      <a:pt x="32719" y="18909"/>
                      <a:pt x="32579" y="19049"/>
                    </a:cubicBezTo>
                    <a:cubicBezTo>
                      <a:pt x="32439" y="19189"/>
                      <a:pt x="32158" y="19189"/>
                      <a:pt x="31956" y="19361"/>
                    </a:cubicBezTo>
                    <a:cubicBezTo>
                      <a:pt x="31956" y="19267"/>
                      <a:pt x="31956" y="19220"/>
                      <a:pt x="32049" y="19189"/>
                    </a:cubicBezTo>
                    <a:cubicBezTo>
                      <a:pt x="31862" y="19189"/>
                      <a:pt x="31628" y="18955"/>
                      <a:pt x="31519" y="19189"/>
                    </a:cubicBezTo>
                    <a:cubicBezTo>
                      <a:pt x="31363" y="19189"/>
                      <a:pt x="31410" y="19189"/>
                      <a:pt x="31301" y="19267"/>
                    </a:cubicBezTo>
                    <a:cubicBezTo>
                      <a:pt x="31192" y="19345"/>
                      <a:pt x="31301" y="19361"/>
                      <a:pt x="31410" y="19407"/>
                    </a:cubicBezTo>
                    <a:cubicBezTo>
                      <a:pt x="31519" y="19454"/>
                      <a:pt x="31239" y="19329"/>
                      <a:pt x="31254" y="19407"/>
                    </a:cubicBezTo>
                    <a:cubicBezTo>
                      <a:pt x="31270" y="19485"/>
                      <a:pt x="31363" y="19407"/>
                      <a:pt x="31254" y="19485"/>
                    </a:cubicBezTo>
                    <a:cubicBezTo>
                      <a:pt x="31145" y="19563"/>
                      <a:pt x="31005" y="19376"/>
                      <a:pt x="31254" y="19485"/>
                    </a:cubicBezTo>
                    <a:cubicBezTo>
                      <a:pt x="31129" y="19485"/>
                      <a:pt x="31083" y="19361"/>
                      <a:pt x="31005" y="19314"/>
                    </a:cubicBezTo>
                    <a:cubicBezTo>
                      <a:pt x="30927" y="19267"/>
                      <a:pt x="30786" y="19423"/>
                      <a:pt x="31005" y="19532"/>
                    </a:cubicBezTo>
                    <a:cubicBezTo>
                      <a:pt x="31223" y="19641"/>
                      <a:pt x="31348" y="19953"/>
                      <a:pt x="31005" y="19719"/>
                    </a:cubicBezTo>
                    <a:cubicBezTo>
                      <a:pt x="31005" y="19719"/>
                      <a:pt x="31005" y="19719"/>
                      <a:pt x="31005" y="19719"/>
                    </a:cubicBezTo>
                    <a:cubicBezTo>
                      <a:pt x="31005" y="19719"/>
                      <a:pt x="31005" y="19828"/>
                      <a:pt x="31005" y="19813"/>
                    </a:cubicBezTo>
                    <a:cubicBezTo>
                      <a:pt x="31176" y="19937"/>
                      <a:pt x="31472" y="19984"/>
                      <a:pt x="31457" y="20234"/>
                    </a:cubicBezTo>
                    <a:cubicBezTo>
                      <a:pt x="31348" y="20234"/>
                      <a:pt x="31285" y="20124"/>
                      <a:pt x="31161" y="20234"/>
                    </a:cubicBezTo>
                    <a:cubicBezTo>
                      <a:pt x="31036" y="20343"/>
                      <a:pt x="31441" y="20452"/>
                      <a:pt x="31270" y="20389"/>
                    </a:cubicBezTo>
                    <a:cubicBezTo>
                      <a:pt x="31098" y="20327"/>
                      <a:pt x="31270" y="20389"/>
                      <a:pt x="31270" y="20389"/>
                    </a:cubicBezTo>
                    <a:cubicBezTo>
                      <a:pt x="31270" y="20389"/>
                      <a:pt x="31270" y="20608"/>
                      <a:pt x="31270" y="20670"/>
                    </a:cubicBezTo>
                    <a:cubicBezTo>
                      <a:pt x="31270" y="20732"/>
                      <a:pt x="31051" y="20499"/>
                      <a:pt x="31083" y="20670"/>
                    </a:cubicBezTo>
                    <a:cubicBezTo>
                      <a:pt x="31083" y="20530"/>
                      <a:pt x="30989" y="20545"/>
                      <a:pt x="30927" y="20436"/>
                    </a:cubicBezTo>
                    <a:cubicBezTo>
                      <a:pt x="30864" y="20327"/>
                      <a:pt x="30927" y="20514"/>
                      <a:pt x="30927" y="20561"/>
                    </a:cubicBezTo>
                    <a:cubicBezTo>
                      <a:pt x="30845" y="20514"/>
                      <a:pt x="30806" y="20417"/>
                      <a:pt x="30833" y="20327"/>
                    </a:cubicBezTo>
                    <a:cubicBezTo>
                      <a:pt x="30724" y="20234"/>
                      <a:pt x="30553" y="20171"/>
                      <a:pt x="30724" y="20047"/>
                    </a:cubicBezTo>
                    <a:cubicBezTo>
                      <a:pt x="30896" y="19922"/>
                      <a:pt x="31036" y="20202"/>
                      <a:pt x="31176" y="20047"/>
                    </a:cubicBezTo>
                    <a:cubicBezTo>
                      <a:pt x="31051" y="20047"/>
                      <a:pt x="30911" y="19891"/>
                      <a:pt x="30818" y="20047"/>
                    </a:cubicBezTo>
                    <a:cubicBezTo>
                      <a:pt x="30724" y="20202"/>
                      <a:pt x="30709" y="19937"/>
                      <a:pt x="30662" y="20047"/>
                    </a:cubicBezTo>
                    <a:cubicBezTo>
                      <a:pt x="30444" y="19828"/>
                      <a:pt x="30288" y="19485"/>
                      <a:pt x="30007" y="19345"/>
                    </a:cubicBezTo>
                    <a:cubicBezTo>
                      <a:pt x="30007" y="19174"/>
                      <a:pt x="30007" y="18987"/>
                      <a:pt x="30007" y="18815"/>
                    </a:cubicBezTo>
                    <a:cubicBezTo>
                      <a:pt x="29820" y="18815"/>
                      <a:pt x="29711" y="18566"/>
                      <a:pt x="29571" y="18441"/>
                    </a:cubicBezTo>
                    <a:cubicBezTo>
                      <a:pt x="29430" y="18316"/>
                      <a:pt x="29337" y="18441"/>
                      <a:pt x="29290" y="18441"/>
                    </a:cubicBezTo>
                    <a:cubicBezTo>
                      <a:pt x="29243" y="18441"/>
                      <a:pt x="29290" y="18441"/>
                      <a:pt x="29399" y="18441"/>
                    </a:cubicBezTo>
                    <a:cubicBezTo>
                      <a:pt x="29508" y="18441"/>
                      <a:pt x="29134" y="18207"/>
                      <a:pt x="28978" y="18269"/>
                    </a:cubicBezTo>
                    <a:cubicBezTo>
                      <a:pt x="28822" y="18332"/>
                      <a:pt x="28511" y="18004"/>
                      <a:pt x="28807" y="18020"/>
                    </a:cubicBezTo>
                    <a:cubicBezTo>
                      <a:pt x="28448" y="17802"/>
                      <a:pt x="28620" y="17365"/>
                      <a:pt x="28292" y="17817"/>
                    </a:cubicBezTo>
                    <a:cubicBezTo>
                      <a:pt x="28292" y="17724"/>
                      <a:pt x="28168" y="17615"/>
                      <a:pt x="28292" y="17521"/>
                    </a:cubicBezTo>
                    <a:cubicBezTo>
                      <a:pt x="28417" y="17428"/>
                      <a:pt x="27981" y="17521"/>
                      <a:pt x="27903" y="17630"/>
                    </a:cubicBezTo>
                    <a:cubicBezTo>
                      <a:pt x="27903" y="18098"/>
                      <a:pt x="28448" y="18394"/>
                      <a:pt x="28729" y="18768"/>
                    </a:cubicBezTo>
                    <a:cubicBezTo>
                      <a:pt x="28869" y="18768"/>
                      <a:pt x="29243" y="18768"/>
                      <a:pt x="29025" y="18955"/>
                    </a:cubicBezTo>
                    <a:cubicBezTo>
                      <a:pt x="29243" y="19080"/>
                      <a:pt x="29929" y="19205"/>
                      <a:pt x="29773" y="19548"/>
                    </a:cubicBezTo>
                    <a:cubicBezTo>
                      <a:pt x="29633" y="19548"/>
                      <a:pt x="29773" y="19314"/>
                      <a:pt x="29524" y="19361"/>
                    </a:cubicBezTo>
                    <a:cubicBezTo>
                      <a:pt x="29274" y="19407"/>
                      <a:pt x="29274" y="19548"/>
                      <a:pt x="29321" y="19626"/>
                    </a:cubicBezTo>
                    <a:cubicBezTo>
                      <a:pt x="29649" y="19719"/>
                      <a:pt x="29321" y="19906"/>
                      <a:pt x="29321" y="20093"/>
                    </a:cubicBezTo>
                    <a:cubicBezTo>
                      <a:pt x="29321" y="20280"/>
                      <a:pt x="28900" y="20343"/>
                      <a:pt x="29119" y="20093"/>
                    </a:cubicBezTo>
                    <a:cubicBezTo>
                      <a:pt x="29219" y="19835"/>
                      <a:pt x="29104" y="19543"/>
                      <a:pt x="28854" y="19423"/>
                    </a:cubicBezTo>
                    <a:cubicBezTo>
                      <a:pt x="28713" y="19423"/>
                      <a:pt x="28854" y="19314"/>
                      <a:pt x="28729" y="19267"/>
                    </a:cubicBezTo>
                    <a:cubicBezTo>
                      <a:pt x="28603" y="19264"/>
                      <a:pt x="28490" y="19192"/>
                      <a:pt x="28433" y="19080"/>
                    </a:cubicBezTo>
                    <a:cubicBezTo>
                      <a:pt x="27513" y="19080"/>
                      <a:pt x="27357" y="17225"/>
                      <a:pt x="26391" y="18347"/>
                    </a:cubicBezTo>
                    <a:cubicBezTo>
                      <a:pt x="26391" y="18534"/>
                      <a:pt x="26079" y="18347"/>
                      <a:pt x="25985" y="18254"/>
                    </a:cubicBezTo>
                    <a:cubicBezTo>
                      <a:pt x="25019" y="18145"/>
                      <a:pt x="25985" y="18987"/>
                      <a:pt x="24910" y="19142"/>
                    </a:cubicBezTo>
                    <a:cubicBezTo>
                      <a:pt x="24988" y="19142"/>
                      <a:pt x="24910" y="19298"/>
                      <a:pt x="24910" y="19252"/>
                    </a:cubicBezTo>
                    <a:cubicBezTo>
                      <a:pt x="24271" y="19750"/>
                      <a:pt x="24910" y="19719"/>
                      <a:pt x="24676" y="19969"/>
                    </a:cubicBezTo>
                    <a:cubicBezTo>
                      <a:pt x="24458" y="19969"/>
                      <a:pt x="24567" y="20374"/>
                      <a:pt x="24364" y="20327"/>
                    </a:cubicBezTo>
                    <a:cubicBezTo>
                      <a:pt x="23974" y="20748"/>
                      <a:pt x="23522" y="20327"/>
                      <a:pt x="23070" y="20779"/>
                    </a:cubicBezTo>
                    <a:cubicBezTo>
                      <a:pt x="22774" y="20779"/>
                      <a:pt x="22821" y="20140"/>
                      <a:pt x="22416" y="20421"/>
                    </a:cubicBezTo>
                    <a:cubicBezTo>
                      <a:pt x="22416" y="20421"/>
                      <a:pt x="22229" y="20296"/>
                      <a:pt x="22151" y="20421"/>
                    </a:cubicBezTo>
                    <a:cubicBezTo>
                      <a:pt x="22167" y="20247"/>
                      <a:pt x="22198" y="20075"/>
                      <a:pt x="22244" y="19906"/>
                    </a:cubicBezTo>
                    <a:cubicBezTo>
                      <a:pt x="21948" y="19906"/>
                      <a:pt x="22244" y="19906"/>
                      <a:pt x="22244" y="19750"/>
                    </a:cubicBezTo>
                    <a:cubicBezTo>
                      <a:pt x="21870" y="19984"/>
                      <a:pt x="22338" y="19329"/>
                      <a:pt x="22353" y="19189"/>
                    </a:cubicBezTo>
                    <a:cubicBezTo>
                      <a:pt x="22369" y="19049"/>
                      <a:pt x="22353" y="18690"/>
                      <a:pt x="22447" y="18566"/>
                    </a:cubicBezTo>
                    <a:lnTo>
                      <a:pt x="22447" y="18566"/>
                    </a:lnTo>
                    <a:cubicBezTo>
                      <a:pt x="22447" y="18566"/>
                      <a:pt x="22447" y="18566"/>
                      <a:pt x="22447" y="18457"/>
                    </a:cubicBezTo>
                    <a:cubicBezTo>
                      <a:pt x="22447" y="18347"/>
                      <a:pt x="22447" y="18457"/>
                      <a:pt x="22447" y="18363"/>
                    </a:cubicBezTo>
                    <a:cubicBezTo>
                      <a:pt x="22447" y="18269"/>
                      <a:pt x="22634" y="18238"/>
                      <a:pt x="22712" y="18192"/>
                    </a:cubicBezTo>
                    <a:cubicBezTo>
                      <a:pt x="22790" y="18145"/>
                      <a:pt x="23055" y="18192"/>
                      <a:pt x="23133" y="18192"/>
                    </a:cubicBezTo>
                    <a:cubicBezTo>
                      <a:pt x="23460" y="18192"/>
                      <a:pt x="23819" y="18347"/>
                      <a:pt x="24146" y="18269"/>
                    </a:cubicBezTo>
                    <a:cubicBezTo>
                      <a:pt x="24723" y="18722"/>
                      <a:pt x="24364" y="17163"/>
                      <a:pt x="24754" y="17755"/>
                    </a:cubicBezTo>
                    <a:cubicBezTo>
                      <a:pt x="24754" y="17662"/>
                      <a:pt x="24660" y="17521"/>
                      <a:pt x="24551" y="17506"/>
                    </a:cubicBezTo>
                    <a:cubicBezTo>
                      <a:pt x="24707" y="17303"/>
                      <a:pt x="24411" y="17256"/>
                      <a:pt x="24333" y="17116"/>
                    </a:cubicBezTo>
                    <a:cubicBezTo>
                      <a:pt x="24255" y="16976"/>
                      <a:pt x="24333" y="16898"/>
                      <a:pt x="24458" y="16991"/>
                    </a:cubicBezTo>
                    <a:cubicBezTo>
                      <a:pt x="24364" y="16851"/>
                      <a:pt x="24255" y="17085"/>
                      <a:pt x="24255" y="16835"/>
                    </a:cubicBezTo>
                    <a:cubicBezTo>
                      <a:pt x="24146" y="16835"/>
                      <a:pt x="23959" y="16648"/>
                      <a:pt x="23803" y="16757"/>
                    </a:cubicBezTo>
                    <a:cubicBezTo>
                      <a:pt x="23647" y="16867"/>
                      <a:pt x="23803" y="16757"/>
                      <a:pt x="23803" y="16648"/>
                    </a:cubicBezTo>
                    <a:cubicBezTo>
                      <a:pt x="23803" y="16539"/>
                      <a:pt x="23897" y="16508"/>
                      <a:pt x="23803" y="16648"/>
                    </a:cubicBezTo>
                    <a:cubicBezTo>
                      <a:pt x="23709" y="16789"/>
                      <a:pt x="23803" y="16648"/>
                      <a:pt x="23803" y="16648"/>
                    </a:cubicBezTo>
                    <a:cubicBezTo>
                      <a:pt x="23460" y="16539"/>
                      <a:pt x="23990" y="16524"/>
                      <a:pt x="24099" y="16446"/>
                    </a:cubicBezTo>
                    <a:cubicBezTo>
                      <a:pt x="24224" y="16602"/>
                      <a:pt x="24317" y="16446"/>
                      <a:pt x="24520" y="16555"/>
                    </a:cubicBezTo>
                    <a:cubicBezTo>
                      <a:pt x="24493" y="16422"/>
                      <a:pt x="24457" y="16292"/>
                      <a:pt x="24411" y="16165"/>
                    </a:cubicBezTo>
                    <a:cubicBezTo>
                      <a:pt x="24411" y="16165"/>
                      <a:pt x="24551" y="16165"/>
                      <a:pt x="24598" y="16165"/>
                    </a:cubicBezTo>
                    <a:cubicBezTo>
                      <a:pt x="24645" y="16165"/>
                      <a:pt x="24863" y="16337"/>
                      <a:pt x="24957" y="16165"/>
                    </a:cubicBezTo>
                    <a:cubicBezTo>
                      <a:pt x="24738" y="15994"/>
                      <a:pt x="25206" y="16072"/>
                      <a:pt x="25206" y="15978"/>
                    </a:cubicBezTo>
                    <a:cubicBezTo>
                      <a:pt x="25206" y="15884"/>
                      <a:pt x="25284" y="15775"/>
                      <a:pt x="25315" y="15682"/>
                    </a:cubicBezTo>
                    <a:cubicBezTo>
                      <a:pt x="25346" y="15588"/>
                      <a:pt x="25596" y="15417"/>
                      <a:pt x="25814" y="15542"/>
                    </a:cubicBezTo>
                    <a:cubicBezTo>
                      <a:pt x="25658" y="15542"/>
                      <a:pt x="25611" y="15354"/>
                      <a:pt x="25814" y="15542"/>
                    </a:cubicBezTo>
                    <a:cubicBezTo>
                      <a:pt x="26017" y="15729"/>
                      <a:pt x="25705" y="15432"/>
                      <a:pt x="25907" y="15448"/>
                    </a:cubicBezTo>
                    <a:cubicBezTo>
                      <a:pt x="25580" y="15214"/>
                      <a:pt x="26250" y="14622"/>
                      <a:pt x="26578" y="14918"/>
                    </a:cubicBezTo>
                    <a:cubicBezTo>
                      <a:pt x="26344" y="14747"/>
                      <a:pt x="26671" y="14622"/>
                      <a:pt x="26734" y="14918"/>
                    </a:cubicBezTo>
                    <a:cubicBezTo>
                      <a:pt x="26734" y="14700"/>
                      <a:pt x="26734" y="14918"/>
                      <a:pt x="26858" y="14918"/>
                    </a:cubicBezTo>
                    <a:cubicBezTo>
                      <a:pt x="26718" y="14544"/>
                      <a:pt x="26999" y="14731"/>
                      <a:pt x="27186" y="14793"/>
                    </a:cubicBezTo>
                    <a:cubicBezTo>
                      <a:pt x="26671" y="14559"/>
                      <a:pt x="26812" y="14061"/>
                      <a:pt x="26671" y="13718"/>
                    </a:cubicBezTo>
                    <a:cubicBezTo>
                      <a:pt x="26889" y="13718"/>
                      <a:pt x="26796" y="13577"/>
                      <a:pt x="26921" y="13718"/>
                    </a:cubicBezTo>
                    <a:cubicBezTo>
                      <a:pt x="26921" y="13281"/>
                      <a:pt x="27077" y="13718"/>
                      <a:pt x="27248" y="13718"/>
                    </a:cubicBezTo>
                    <a:cubicBezTo>
                      <a:pt x="27248" y="13952"/>
                      <a:pt x="26796" y="14092"/>
                      <a:pt x="27154" y="14528"/>
                    </a:cubicBezTo>
                    <a:cubicBezTo>
                      <a:pt x="27154" y="14419"/>
                      <a:pt x="27529" y="14528"/>
                      <a:pt x="27279" y="14606"/>
                    </a:cubicBezTo>
                    <a:cubicBezTo>
                      <a:pt x="27762" y="14606"/>
                      <a:pt x="27575" y="14310"/>
                      <a:pt x="28027" y="14606"/>
                    </a:cubicBezTo>
                    <a:cubicBezTo>
                      <a:pt x="28246" y="14949"/>
                      <a:pt x="28729" y="13936"/>
                      <a:pt x="29134" y="14310"/>
                    </a:cubicBezTo>
                    <a:cubicBezTo>
                      <a:pt x="28885" y="14310"/>
                      <a:pt x="29134" y="14559"/>
                      <a:pt x="29337" y="14310"/>
                    </a:cubicBezTo>
                    <a:cubicBezTo>
                      <a:pt x="29312" y="14365"/>
                      <a:pt x="29267" y="14410"/>
                      <a:pt x="29212" y="14435"/>
                    </a:cubicBezTo>
                    <a:cubicBezTo>
                      <a:pt x="30927" y="14357"/>
                      <a:pt x="28729" y="13858"/>
                      <a:pt x="29680" y="13157"/>
                    </a:cubicBezTo>
                    <a:cubicBezTo>
                      <a:pt x="30023" y="13687"/>
                      <a:pt x="30132" y="13328"/>
                      <a:pt x="29976" y="12907"/>
                    </a:cubicBezTo>
                    <a:cubicBezTo>
                      <a:pt x="29976" y="13094"/>
                      <a:pt x="29711" y="12907"/>
                      <a:pt x="29804" y="12767"/>
                    </a:cubicBezTo>
                    <a:cubicBezTo>
                      <a:pt x="29524" y="12767"/>
                      <a:pt x="29804" y="12486"/>
                      <a:pt x="29804" y="12424"/>
                    </a:cubicBezTo>
                    <a:cubicBezTo>
                      <a:pt x="29804" y="12362"/>
                      <a:pt x="30023" y="12424"/>
                      <a:pt x="29929" y="12424"/>
                    </a:cubicBezTo>
                    <a:lnTo>
                      <a:pt x="30506" y="12517"/>
                    </a:lnTo>
                    <a:cubicBezTo>
                      <a:pt x="30334" y="12252"/>
                      <a:pt x="30506" y="12424"/>
                      <a:pt x="30631" y="12221"/>
                    </a:cubicBezTo>
                    <a:cubicBezTo>
                      <a:pt x="30755" y="12019"/>
                      <a:pt x="30225" y="12128"/>
                      <a:pt x="30444" y="11972"/>
                    </a:cubicBezTo>
                    <a:cubicBezTo>
                      <a:pt x="30444" y="11972"/>
                      <a:pt x="30334" y="12065"/>
                      <a:pt x="30319" y="11972"/>
                    </a:cubicBezTo>
                    <a:cubicBezTo>
                      <a:pt x="30319" y="12112"/>
                      <a:pt x="30038" y="12128"/>
                      <a:pt x="29976" y="12081"/>
                    </a:cubicBezTo>
                    <a:cubicBezTo>
                      <a:pt x="29914" y="12034"/>
                      <a:pt x="29976" y="12081"/>
                      <a:pt x="29976" y="12081"/>
                    </a:cubicBezTo>
                    <a:cubicBezTo>
                      <a:pt x="29976" y="12081"/>
                      <a:pt x="29976" y="12299"/>
                      <a:pt x="29976" y="12081"/>
                    </a:cubicBezTo>
                    <a:cubicBezTo>
                      <a:pt x="29976" y="12206"/>
                      <a:pt x="29586" y="12221"/>
                      <a:pt x="29555" y="12362"/>
                    </a:cubicBezTo>
                    <a:cubicBezTo>
                      <a:pt x="29555" y="12081"/>
                      <a:pt x="29415" y="12174"/>
                      <a:pt x="29197" y="12034"/>
                    </a:cubicBezTo>
                    <a:cubicBezTo>
                      <a:pt x="28978" y="11894"/>
                      <a:pt x="28760" y="11021"/>
                      <a:pt x="28963" y="10943"/>
                    </a:cubicBezTo>
                    <a:cubicBezTo>
                      <a:pt x="29165" y="10865"/>
                      <a:pt x="28963" y="10865"/>
                      <a:pt x="29056" y="10943"/>
                    </a:cubicBezTo>
                    <a:cubicBezTo>
                      <a:pt x="29150" y="11021"/>
                      <a:pt x="29056" y="10818"/>
                      <a:pt x="29056" y="10725"/>
                    </a:cubicBezTo>
                    <a:cubicBezTo>
                      <a:pt x="29056" y="10631"/>
                      <a:pt x="29259" y="10304"/>
                      <a:pt x="29321" y="10397"/>
                    </a:cubicBezTo>
                    <a:cubicBezTo>
                      <a:pt x="29134" y="9992"/>
                      <a:pt x="28776" y="10117"/>
                      <a:pt x="28589" y="10148"/>
                    </a:cubicBezTo>
                    <a:cubicBezTo>
                      <a:pt x="28698" y="10304"/>
                      <a:pt x="28589" y="10507"/>
                      <a:pt x="28729" y="10631"/>
                    </a:cubicBezTo>
                    <a:cubicBezTo>
                      <a:pt x="28616" y="10941"/>
                      <a:pt x="28422" y="11216"/>
                      <a:pt x="28168" y="11426"/>
                    </a:cubicBezTo>
                    <a:cubicBezTo>
                      <a:pt x="28277" y="11504"/>
                      <a:pt x="28168" y="11660"/>
                      <a:pt x="28292" y="11769"/>
                    </a:cubicBezTo>
                    <a:cubicBezTo>
                      <a:pt x="28027" y="11909"/>
                      <a:pt x="29212" y="12704"/>
                      <a:pt x="28479" y="12517"/>
                    </a:cubicBezTo>
                    <a:cubicBezTo>
                      <a:pt x="28479" y="12517"/>
                      <a:pt x="28043" y="12517"/>
                      <a:pt x="28324" y="12627"/>
                    </a:cubicBezTo>
                    <a:cubicBezTo>
                      <a:pt x="28604" y="12736"/>
                      <a:pt x="28869" y="12814"/>
                      <a:pt x="28573" y="12751"/>
                    </a:cubicBezTo>
                    <a:cubicBezTo>
                      <a:pt x="28573" y="12751"/>
                      <a:pt x="28573" y="12938"/>
                      <a:pt x="28464" y="12876"/>
                    </a:cubicBezTo>
                    <a:cubicBezTo>
                      <a:pt x="28355" y="12814"/>
                      <a:pt x="28557" y="13001"/>
                      <a:pt x="28464" y="13016"/>
                    </a:cubicBezTo>
                    <a:cubicBezTo>
                      <a:pt x="28573" y="13016"/>
                      <a:pt x="28604" y="13250"/>
                      <a:pt x="28464" y="13172"/>
                    </a:cubicBezTo>
                    <a:cubicBezTo>
                      <a:pt x="28589" y="13422"/>
                      <a:pt x="28604" y="14076"/>
                      <a:pt x="28214" y="13827"/>
                    </a:cubicBezTo>
                    <a:cubicBezTo>
                      <a:pt x="27965" y="14793"/>
                      <a:pt x="27279" y="12845"/>
                      <a:pt x="27373" y="12751"/>
                    </a:cubicBezTo>
                    <a:cubicBezTo>
                      <a:pt x="27217" y="12658"/>
                      <a:pt x="27170" y="12564"/>
                      <a:pt x="27170" y="12533"/>
                    </a:cubicBezTo>
                    <a:cubicBezTo>
                      <a:pt x="27188" y="12620"/>
                      <a:pt x="27188" y="12711"/>
                      <a:pt x="27170" y="12798"/>
                    </a:cubicBezTo>
                    <a:cubicBezTo>
                      <a:pt x="27170" y="12798"/>
                      <a:pt x="27170" y="12798"/>
                      <a:pt x="26983" y="12673"/>
                    </a:cubicBezTo>
                    <a:cubicBezTo>
                      <a:pt x="26983" y="12814"/>
                      <a:pt x="26983" y="13032"/>
                      <a:pt x="26858" y="12969"/>
                    </a:cubicBezTo>
                    <a:cubicBezTo>
                      <a:pt x="26983" y="13125"/>
                      <a:pt x="26578" y="13234"/>
                      <a:pt x="26484" y="13094"/>
                    </a:cubicBezTo>
                    <a:cubicBezTo>
                      <a:pt x="26391" y="13203"/>
                      <a:pt x="26001" y="12751"/>
                      <a:pt x="26484" y="12798"/>
                    </a:cubicBezTo>
                    <a:cubicBezTo>
                      <a:pt x="26282" y="12798"/>
                      <a:pt x="26484" y="12704"/>
                      <a:pt x="26328" y="12595"/>
                    </a:cubicBezTo>
                    <a:cubicBezTo>
                      <a:pt x="26328" y="12876"/>
                      <a:pt x="26110" y="12424"/>
                      <a:pt x="26328" y="12595"/>
                    </a:cubicBezTo>
                    <a:cubicBezTo>
                      <a:pt x="26547" y="12767"/>
                      <a:pt x="26328" y="12595"/>
                      <a:pt x="26469" y="12502"/>
                    </a:cubicBezTo>
                    <a:cubicBezTo>
                      <a:pt x="26282" y="12502"/>
                      <a:pt x="26469" y="12206"/>
                      <a:pt x="26469" y="12393"/>
                    </a:cubicBezTo>
                    <a:cubicBezTo>
                      <a:pt x="26426" y="12350"/>
                      <a:pt x="26425" y="12281"/>
                      <a:pt x="26467" y="12238"/>
                    </a:cubicBezTo>
                    <a:cubicBezTo>
                      <a:pt x="26467" y="12238"/>
                      <a:pt x="26468" y="12237"/>
                      <a:pt x="26469" y="12237"/>
                    </a:cubicBezTo>
                    <a:cubicBezTo>
                      <a:pt x="26266" y="12315"/>
                      <a:pt x="26157" y="12455"/>
                      <a:pt x="26266" y="12237"/>
                    </a:cubicBezTo>
                    <a:cubicBezTo>
                      <a:pt x="26126" y="12237"/>
                      <a:pt x="26079" y="12315"/>
                      <a:pt x="26266" y="12143"/>
                    </a:cubicBezTo>
                    <a:cubicBezTo>
                      <a:pt x="25954" y="12019"/>
                      <a:pt x="26812" y="12237"/>
                      <a:pt x="26640" y="11941"/>
                    </a:cubicBezTo>
                    <a:cubicBezTo>
                      <a:pt x="26640" y="12097"/>
                      <a:pt x="25939" y="12065"/>
                      <a:pt x="26313" y="11941"/>
                    </a:cubicBezTo>
                    <a:cubicBezTo>
                      <a:pt x="26001" y="11941"/>
                      <a:pt x="26313" y="11832"/>
                      <a:pt x="26484" y="11816"/>
                    </a:cubicBezTo>
                    <a:cubicBezTo>
                      <a:pt x="26157" y="11816"/>
                      <a:pt x="26094" y="11644"/>
                      <a:pt x="26359" y="11722"/>
                    </a:cubicBezTo>
                    <a:cubicBezTo>
                      <a:pt x="26282" y="11722"/>
                      <a:pt x="26359" y="11598"/>
                      <a:pt x="26484" y="11722"/>
                    </a:cubicBezTo>
                    <a:lnTo>
                      <a:pt x="26484" y="11613"/>
                    </a:lnTo>
                    <a:cubicBezTo>
                      <a:pt x="26484" y="11613"/>
                      <a:pt x="26484" y="11613"/>
                      <a:pt x="26718" y="11613"/>
                    </a:cubicBezTo>
                    <a:cubicBezTo>
                      <a:pt x="26422" y="11613"/>
                      <a:pt x="26593" y="11426"/>
                      <a:pt x="26843" y="11613"/>
                    </a:cubicBezTo>
                    <a:cubicBezTo>
                      <a:pt x="26515" y="11348"/>
                      <a:pt x="26843" y="11613"/>
                      <a:pt x="26843" y="11504"/>
                    </a:cubicBezTo>
                    <a:cubicBezTo>
                      <a:pt x="26843" y="11395"/>
                      <a:pt x="27154" y="11083"/>
                      <a:pt x="27014" y="11504"/>
                    </a:cubicBezTo>
                    <a:cubicBezTo>
                      <a:pt x="27232" y="11379"/>
                      <a:pt x="27201" y="11379"/>
                      <a:pt x="27279" y="11161"/>
                    </a:cubicBezTo>
                    <a:cubicBezTo>
                      <a:pt x="27357" y="10943"/>
                      <a:pt x="27030" y="11629"/>
                      <a:pt x="27045" y="11270"/>
                    </a:cubicBezTo>
                    <a:cubicBezTo>
                      <a:pt x="26921" y="11364"/>
                      <a:pt x="27045" y="11037"/>
                      <a:pt x="27045" y="11068"/>
                    </a:cubicBezTo>
                    <a:cubicBezTo>
                      <a:pt x="27045" y="11099"/>
                      <a:pt x="27217" y="10896"/>
                      <a:pt x="27357" y="10678"/>
                    </a:cubicBezTo>
                    <a:cubicBezTo>
                      <a:pt x="27217" y="10787"/>
                      <a:pt x="27279" y="10460"/>
                      <a:pt x="27357" y="10538"/>
                    </a:cubicBezTo>
                    <a:cubicBezTo>
                      <a:pt x="27435" y="10616"/>
                      <a:pt x="27357" y="10382"/>
                      <a:pt x="27357" y="10460"/>
                    </a:cubicBezTo>
                    <a:cubicBezTo>
                      <a:pt x="27264" y="10273"/>
                      <a:pt x="27357" y="10382"/>
                      <a:pt x="27357" y="10288"/>
                    </a:cubicBezTo>
                    <a:cubicBezTo>
                      <a:pt x="27170" y="10288"/>
                      <a:pt x="27357" y="10195"/>
                      <a:pt x="27248" y="10117"/>
                    </a:cubicBezTo>
                    <a:cubicBezTo>
                      <a:pt x="27139" y="10039"/>
                      <a:pt x="27248" y="9821"/>
                      <a:pt x="27529" y="9961"/>
                    </a:cubicBezTo>
                    <a:cubicBezTo>
                      <a:pt x="27388" y="9883"/>
                      <a:pt x="27326" y="9743"/>
                      <a:pt x="27529" y="9836"/>
                    </a:cubicBezTo>
                    <a:cubicBezTo>
                      <a:pt x="27731" y="9930"/>
                      <a:pt x="27373" y="9711"/>
                      <a:pt x="27529" y="9696"/>
                    </a:cubicBezTo>
                    <a:cubicBezTo>
                      <a:pt x="27264" y="9696"/>
                      <a:pt x="27529" y="9696"/>
                      <a:pt x="27529" y="9509"/>
                    </a:cubicBezTo>
                    <a:cubicBezTo>
                      <a:pt x="27700" y="9509"/>
                      <a:pt x="27669" y="9509"/>
                      <a:pt x="27684" y="9509"/>
                    </a:cubicBezTo>
                    <a:cubicBezTo>
                      <a:pt x="28059" y="9587"/>
                      <a:pt x="27419" y="9369"/>
                      <a:pt x="27684" y="9369"/>
                    </a:cubicBezTo>
                    <a:cubicBezTo>
                      <a:pt x="27684" y="9369"/>
                      <a:pt x="27684" y="9275"/>
                      <a:pt x="27684" y="9275"/>
                    </a:cubicBezTo>
                    <a:cubicBezTo>
                      <a:pt x="27684" y="9275"/>
                      <a:pt x="27684" y="8994"/>
                      <a:pt x="27778" y="9182"/>
                    </a:cubicBezTo>
                    <a:cubicBezTo>
                      <a:pt x="27872" y="9369"/>
                      <a:pt x="27778" y="9182"/>
                      <a:pt x="27778" y="9182"/>
                    </a:cubicBezTo>
                    <a:cubicBezTo>
                      <a:pt x="27575" y="9057"/>
                      <a:pt x="27778" y="9088"/>
                      <a:pt x="27778" y="9182"/>
                    </a:cubicBezTo>
                    <a:cubicBezTo>
                      <a:pt x="27778" y="9275"/>
                      <a:pt x="27778" y="8870"/>
                      <a:pt x="27778" y="9182"/>
                    </a:cubicBezTo>
                    <a:cubicBezTo>
                      <a:pt x="27778" y="8776"/>
                      <a:pt x="27778" y="9291"/>
                      <a:pt x="27949" y="9182"/>
                    </a:cubicBezTo>
                    <a:cubicBezTo>
                      <a:pt x="27778" y="8870"/>
                      <a:pt x="28152" y="9182"/>
                      <a:pt x="27949" y="8839"/>
                    </a:cubicBezTo>
                    <a:cubicBezTo>
                      <a:pt x="28043" y="8839"/>
                      <a:pt x="28168" y="8994"/>
                      <a:pt x="28246" y="8979"/>
                    </a:cubicBezTo>
                    <a:cubicBezTo>
                      <a:pt x="28324" y="8963"/>
                      <a:pt x="28246" y="8714"/>
                      <a:pt x="28246" y="8729"/>
                    </a:cubicBezTo>
                    <a:cubicBezTo>
                      <a:pt x="28246" y="8745"/>
                      <a:pt x="28105" y="8589"/>
                      <a:pt x="28246" y="8729"/>
                    </a:cubicBezTo>
                    <a:cubicBezTo>
                      <a:pt x="28386" y="8870"/>
                      <a:pt x="28246" y="8620"/>
                      <a:pt x="28246" y="8729"/>
                    </a:cubicBezTo>
                    <a:cubicBezTo>
                      <a:pt x="28355" y="8574"/>
                      <a:pt x="28386" y="9462"/>
                      <a:pt x="28370" y="8729"/>
                    </a:cubicBezTo>
                    <a:cubicBezTo>
                      <a:pt x="28620" y="9197"/>
                      <a:pt x="28370" y="8636"/>
                      <a:pt x="28542" y="8620"/>
                    </a:cubicBezTo>
                    <a:cubicBezTo>
                      <a:pt x="28713" y="8605"/>
                      <a:pt x="28542" y="8761"/>
                      <a:pt x="28635" y="8932"/>
                    </a:cubicBezTo>
                    <a:cubicBezTo>
                      <a:pt x="28729" y="9104"/>
                      <a:pt x="28713" y="8932"/>
                      <a:pt x="28744" y="8932"/>
                    </a:cubicBezTo>
                    <a:cubicBezTo>
                      <a:pt x="28589" y="8620"/>
                      <a:pt x="28916" y="8792"/>
                      <a:pt x="28900" y="8932"/>
                    </a:cubicBezTo>
                    <a:cubicBezTo>
                      <a:pt x="29197" y="8932"/>
                      <a:pt x="29087" y="9197"/>
                      <a:pt x="28807" y="9104"/>
                    </a:cubicBezTo>
                    <a:cubicBezTo>
                      <a:pt x="28900" y="9104"/>
                      <a:pt x="28994" y="9104"/>
                      <a:pt x="29041" y="9275"/>
                    </a:cubicBezTo>
                    <a:cubicBezTo>
                      <a:pt x="29087" y="9446"/>
                      <a:pt x="29150" y="9150"/>
                      <a:pt x="29290" y="9275"/>
                    </a:cubicBezTo>
                    <a:cubicBezTo>
                      <a:pt x="29290" y="9166"/>
                      <a:pt x="29290" y="9182"/>
                      <a:pt x="29290" y="9119"/>
                    </a:cubicBezTo>
                    <a:cubicBezTo>
                      <a:pt x="29290" y="9057"/>
                      <a:pt x="29633" y="9353"/>
                      <a:pt x="29384" y="9119"/>
                    </a:cubicBezTo>
                    <a:cubicBezTo>
                      <a:pt x="29384" y="9291"/>
                      <a:pt x="29555" y="9119"/>
                      <a:pt x="29571" y="9275"/>
                    </a:cubicBezTo>
                    <a:cubicBezTo>
                      <a:pt x="29586" y="9431"/>
                      <a:pt x="30147" y="9275"/>
                      <a:pt x="30568" y="9556"/>
                    </a:cubicBezTo>
                    <a:cubicBezTo>
                      <a:pt x="30459" y="9431"/>
                      <a:pt x="30896" y="9743"/>
                      <a:pt x="30677" y="9556"/>
                    </a:cubicBezTo>
                    <a:cubicBezTo>
                      <a:pt x="31488" y="9836"/>
                      <a:pt x="31410" y="10756"/>
                      <a:pt x="30490" y="10304"/>
                    </a:cubicBezTo>
                    <a:cubicBezTo>
                      <a:pt x="30381" y="10304"/>
                      <a:pt x="30381" y="10304"/>
                      <a:pt x="30334" y="10304"/>
                    </a:cubicBezTo>
                    <a:cubicBezTo>
                      <a:pt x="30288" y="10304"/>
                      <a:pt x="29867" y="10070"/>
                      <a:pt x="30007" y="10304"/>
                    </a:cubicBezTo>
                    <a:cubicBezTo>
                      <a:pt x="30147" y="10538"/>
                      <a:pt x="30366" y="10429"/>
                      <a:pt x="30272" y="10584"/>
                    </a:cubicBezTo>
                    <a:cubicBezTo>
                      <a:pt x="30521" y="10584"/>
                      <a:pt x="31613" y="12050"/>
                      <a:pt x="31379" y="11192"/>
                    </a:cubicBezTo>
                    <a:cubicBezTo>
                      <a:pt x="31207" y="11348"/>
                      <a:pt x="30958" y="10943"/>
                      <a:pt x="31083" y="10896"/>
                    </a:cubicBezTo>
                    <a:cubicBezTo>
                      <a:pt x="32392" y="11722"/>
                      <a:pt x="30833" y="10117"/>
                      <a:pt x="31737" y="10413"/>
                    </a:cubicBezTo>
                    <a:cubicBezTo>
                      <a:pt x="31737" y="10288"/>
                      <a:pt x="31846" y="10413"/>
                      <a:pt x="31893" y="10413"/>
                    </a:cubicBezTo>
                    <a:cubicBezTo>
                      <a:pt x="31668" y="10019"/>
                      <a:pt x="31372" y="9671"/>
                      <a:pt x="31020" y="9384"/>
                    </a:cubicBezTo>
                    <a:cubicBezTo>
                      <a:pt x="31301" y="9384"/>
                      <a:pt x="31737" y="9478"/>
                      <a:pt x="31581" y="9758"/>
                    </a:cubicBezTo>
                    <a:cubicBezTo>
                      <a:pt x="31940" y="10304"/>
                      <a:pt x="32080" y="9758"/>
                      <a:pt x="31893" y="9556"/>
                    </a:cubicBezTo>
                    <a:cubicBezTo>
                      <a:pt x="32049" y="9556"/>
                      <a:pt x="31893" y="9026"/>
                      <a:pt x="32127" y="9337"/>
                    </a:cubicBezTo>
                    <a:cubicBezTo>
                      <a:pt x="32127" y="9244"/>
                      <a:pt x="31924" y="9057"/>
                      <a:pt x="32127" y="9213"/>
                    </a:cubicBezTo>
                    <a:cubicBezTo>
                      <a:pt x="31971" y="8807"/>
                      <a:pt x="32236" y="9213"/>
                      <a:pt x="32423" y="9353"/>
                    </a:cubicBezTo>
                    <a:cubicBezTo>
                      <a:pt x="32423" y="9259"/>
                      <a:pt x="32423" y="9228"/>
                      <a:pt x="32423" y="9353"/>
                    </a:cubicBezTo>
                    <a:cubicBezTo>
                      <a:pt x="32221" y="9119"/>
                      <a:pt x="32564" y="9197"/>
                      <a:pt x="32517" y="8932"/>
                    </a:cubicBezTo>
                    <a:cubicBezTo>
                      <a:pt x="32626" y="9072"/>
                      <a:pt x="32953" y="9322"/>
                      <a:pt x="32688" y="9026"/>
                    </a:cubicBezTo>
                    <a:cubicBezTo>
                      <a:pt x="32844" y="9026"/>
                      <a:pt x="32595" y="8885"/>
                      <a:pt x="32782" y="9026"/>
                    </a:cubicBezTo>
                    <a:cubicBezTo>
                      <a:pt x="32702" y="8968"/>
                      <a:pt x="32619" y="8916"/>
                      <a:pt x="32532" y="8870"/>
                    </a:cubicBezTo>
                    <a:lnTo>
                      <a:pt x="32532" y="8870"/>
                    </a:lnTo>
                    <a:cubicBezTo>
                      <a:pt x="31815" y="8309"/>
                      <a:pt x="33203" y="8729"/>
                      <a:pt x="33561" y="8979"/>
                    </a:cubicBezTo>
                    <a:cubicBezTo>
                      <a:pt x="33390" y="8729"/>
                      <a:pt x="33140" y="8683"/>
                      <a:pt x="32906" y="8496"/>
                    </a:cubicBezTo>
                    <a:lnTo>
                      <a:pt x="32906" y="8496"/>
                    </a:lnTo>
                    <a:cubicBezTo>
                      <a:pt x="32906" y="8496"/>
                      <a:pt x="32906" y="8496"/>
                      <a:pt x="32797" y="8496"/>
                    </a:cubicBezTo>
                    <a:lnTo>
                      <a:pt x="32797" y="8496"/>
                    </a:lnTo>
                    <a:lnTo>
                      <a:pt x="32564" y="8309"/>
                    </a:lnTo>
                    <a:cubicBezTo>
                      <a:pt x="32688" y="8309"/>
                      <a:pt x="32330" y="8153"/>
                      <a:pt x="32423" y="8153"/>
                    </a:cubicBezTo>
                    <a:cubicBezTo>
                      <a:pt x="32221" y="8059"/>
                      <a:pt x="31176" y="7186"/>
                      <a:pt x="31394" y="7155"/>
                    </a:cubicBezTo>
                    <a:cubicBezTo>
                      <a:pt x="32158" y="7436"/>
                      <a:pt x="32953" y="8246"/>
                      <a:pt x="33701" y="8714"/>
                    </a:cubicBezTo>
                    <a:lnTo>
                      <a:pt x="33701" y="8714"/>
                    </a:lnTo>
                    <a:cubicBezTo>
                      <a:pt x="33931" y="8894"/>
                      <a:pt x="34135" y="9103"/>
                      <a:pt x="34309" y="9337"/>
                    </a:cubicBezTo>
                    <a:lnTo>
                      <a:pt x="34309" y="9337"/>
                    </a:lnTo>
                    <a:cubicBezTo>
                      <a:pt x="34481" y="9446"/>
                      <a:pt x="34465" y="9602"/>
                      <a:pt x="34309" y="9337"/>
                    </a:cubicBezTo>
                    <a:cubicBezTo>
                      <a:pt x="34309" y="9337"/>
                      <a:pt x="34013" y="9337"/>
                      <a:pt x="34216" y="9462"/>
                    </a:cubicBezTo>
                    <a:cubicBezTo>
                      <a:pt x="35338" y="9711"/>
                      <a:pt x="33811" y="8729"/>
                      <a:pt x="33670" y="8418"/>
                    </a:cubicBezTo>
                    <a:cubicBezTo>
                      <a:pt x="33670" y="8418"/>
                      <a:pt x="33670" y="8418"/>
                      <a:pt x="33670" y="8418"/>
                    </a:cubicBezTo>
                    <a:cubicBezTo>
                      <a:pt x="32928" y="8092"/>
                      <a:pt x="32240" y="7655"/>
                      <a:pt x="31628" y="7124"/>
                    </a:cubicBezTo>
                    <a:cubicBezTo>
                      <a:pt x="31971" y="7280"/>
                      <a:pt x="32283" y="7623"/>
                      <a:pt x="32610" y="7669"/>
                    </a:cubicBezTo>
                    <a:cubicBezTo>
                      <a:pt x="32486" y="7498"/>
                      <a:pt x="32860" y="7779"/>
                      <a:pt x="32766" y="7669"/>
                    </a:cubicBezTo>
                    <a:cubicBezTo>
                      <a:pt x="32514" y="7656"/>
                      <a:pt x="32275" y="7551"/>
                      <a:pt x="32096" y="7373"/>
                    </a:cubicBezTo>
                    <a:cubicBezTo>
                      <a:pt x="32423" y="7514"/>
                      <a:pt x="32096" y="7373"/>
                      <a:pt x="32096" y="7295"/>
                    </a:cubicBezTo>
                    <a:lnTo>
                      <a:pt x="32096" y="7295"/>
                    </a:lnTo>
                    <a:cubicBezTo>
                      <a:pt x="31659" y="6765"/>
                      <a:pt x="33655" y="8059"/>
                      <a:pt x="33000" y="7560"/>
                    </a:cubicBezTo>
                    <a:cubicBezTo>
                      <a:pt x="33249" y="7742"/>
                      <a:pt x="33522" y="7889"/>
                      <a:pt x="33811" y="7997"/>
                    </a:cubicBezTo>
                    <a:cubicBezTo>
                      <a:pt x="33530" y="7810"/>
                      <a:pt x="33811" y="7888"/>
                      <a:pt x="33966" y="7997"/>
                    </a:cubicBezTo>
                    <a:cubicBezTo>
                      <a:pt x="33873" y="7903"/>
                      <a:pt x="33608" y="7794"/>
                      <a:pt x="33670" y="7903"/>
                    </a:cubicBezTo>
                    <a:cubicBezTo>
                      <a:pt x="33187" y="7685"/>
                      <a:pt x="32688" y="7311"/>
                      <a:pt x="32111" y="7077"/>
                    </a:cubicBezTo>
                    <a:cubicBezTo>
                      <a:pt x="31956" y="7077"/>
                      <a:pt x="31223" y="6719"/>
                      <a:pt x="31332" y="6563"/>
                    </a:cubicBezTo>
                    <a:cubicBezTo>
                      <a:pt x="31114" y="6282"/>
                      <a:pt x="31488" y="6656"/>
                      <a:pt x="31628" y="6641"/>
                    </a:cubicBezTo>
                    <a:cubicBezTo>
                      <a:pt x="31426" y="6641"/>
                      <a:pt x="31301" y="6391"/>
                      <a:pt x="31098" y="6360"/>
                    </a:cubicBezTo>
                    <a:cubicBezTo>
                      <a:pt x="30896" y="6329"/>
                      <a:pt x="30911" y="6360"/>
                      <a:pt x="30880" y="6282"/>
                    </a:cubicBezTo>
                    <a:cubicBezTo>
                      <a:pt x="30849" y="6204"/>
                      <a:pt x="30974" y="6282"/>
                      <a:pt x="30880" y="6282"/>
                    </a:cubicBezTo>
                    <a:cubicBezTo>
                      <a:pt x="30786" y="6282"/>
                      <a:pt x="30709" y="6204"/>
                      <a:pt x="30740" y="6282"/>
                    </a:cubicBezTo>
                    <a:cubicBezTo>
                      <a:pt x="30771" y="6360"/>
                      <a:pt x="30568" y="6173"/>
                      <a:pt x="30740" y="6282"/>
                    </a:cubicBezTo>
                    <a:lnTo>
                      <a:pt x="30506" y="6142"/>
                    </a:lnTo>
                    <a:cubicBezTo>
                      <a:pt x="30506" y="6142"/>
                      <a:pt x="30506" y="6142"/>
                      <a:pt x="30506" y="6142"/>
                    </a:cubicBezTo>
                    <a:lnTo>
                      <a:pt x="30101" y="5861"/>
                    </a:lnTo>
                    <a:lnTo>
                      <a:pt x="30101" y="5861"/>
                    </a:lnTo>
                    <a:cubicBezTo>
                      <a:pt x="30026" y="5804"/>
                      <a:pt x="29948" y="5752"/>
                      <a:pt x="29867" y="5705"/>
                    </a:cubicBez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867" y="5705"/>
                    </a:lnTo>
                    <a:lnTo>
                      <a:pt x="29664" y="5612"/>
                    </a:lnTo>
                    <a:lnTo>
                      <a:pt x="29664" y="5612"/>
                    </a:lnTo>
                    <a:cubicBezTo>
                      <a:pt x="29664" y="5612"/>
                      <a:pt x="29508" y="5612"/>
                      <a:pt x="29664" y="5612"/>
                    </a:cubicBezTo>
                    <a:lnTo>
                      <a:pt x="29664" y="5612"/>
                    </a:lnTo>
                    <a:lnTo>
                      <a:pt x="29664" y="5612"/>
                    </a:lnTo>
                    <a:lnTo>
                      <a:pt x="29914" y="5705"/>
                    </a:lnTo>
                    <a:lnTo>
                      <a:pt x="29711" y="5612"/>
                    </a:lnTo>
                    <a:lnTo>
                      <a:pt x="29851" y="5612"/>
                    </a:lnTo>
                    <a:lnTo>
                      <a:pt x="29773" y="5612"/>
                    </a:lnTo>
                    <a:cubicBezTo>
                      <a:pt x="29732" y="5603"/>
                      <a:pt x="29690" y="5603"/>
                      <a:pt x="29649" y="5612"/>
                    </a:cubicBezTo>
                    <a:lnTo>
                      <a:pt x="29649" y="5612"/>
                    </a:lnTo>
                    <a:cubicBezTo>
                      <a:pt x="29607" y="5620"/>
                      <a:pt x="29565" y="5620"/>
                      <a:pt x="29524" y="5612"/>
                    </a:cubicBezTo>
                    <a:lnTo>
                      <a:pt x="29836" y="5721"/>
                    </a:lnTo>
                    <a:cubicBezTo>
                      <a:pt x="29722" y="5665"/>
                      <a:pt x="29601" y="5623"/>
                      <a:pt x="29477" y="5596"/>
                    </a:cubicBezTo>
                    <a:lnTo>
                      <a:pt x="29477" y="5596"/>
                    </a:lnTo>
                    <a:cubicBezTo>
                      <a:pt x="29477" y="5596"/>
                      <a:pt x="29306" y="5596"/>
                      <a:pt x="29352" y="5596"/>
                    </a:cubicBezTo>
                    <a:cubicBezTo>
                      <a:pt x="29399" y="5596"/>
                      <a:pt x="29352" y="5596"/>
                      <a:pt x="29352" y="5596"/>
                    </a:cubicBezTo>
                    <a:lnTo>
                      <a:pt x="29352" y="5596"/>
                    </a:lnTo>
                    <a:lnTo>
                      <a:pt x="29228" y="5596"/>
                    </a:lnTo>
                    <a:lnTo>
                      <a:pt x="29228" y="5596"/>
                    </a:lnTo>
                    <a:lnTo>
                      <a:pt x="28807" y="5471"/>
                    </a:lnTo>
                    <a:lnTo>
                      <a:pt x="28807" y="5471"/>
                    </a:lnTo>
                    <a:cubicBezTo>
                      <a:pt x="28651" y="5471"/>
                      <a:pt x="27918" y="5191"/>
                      <a:pt x="28090" y="5222"/>
                    </a:cubicBezTo>
                    <a:lnTo>
                      <a:pt x="28090" y="5222"/>
                    </a:lnTo>
                    <a:lnTo>
                      <a:pt x="28183" y="5222"/>
                    </a:lnTo>
                    <a:lnTo>
                      <a:pt x="28183" y="5222"/>
                    </a:lnTo>
                    <a:cubicBezTo>
                      <a:pt x="28355" y="5222"/>
                      <a:pt x="28511" y="5316"/>
                      <a:pt x="28682" y="5362"/>
                    </a:cubicBezTo>
                    <a:lnTo>
                      <a:pt x="28511" y="5362"/>
                    </a:lnTo>
                    <a:lnTo>
                      <a:pt x="28667" y="5362"/>
                    </a:lnTo>
                    <a:lnTo>
                      <a:pt x="28573" y="5362"/>
                    </a:lnTo>
                    <a:cubicBezTo>
                      <a:pt x="28667" y="5362"/>
                      <a:pt x="28464" y="5362"/>
                      <a:pt x="28573" y="5362"/>
                    </a:cubicBezTo>
                    <a:lnTo>
                      <a:pt x="28573" y="5362"/>
                    </a:lnTo>
                    <a:cubicBezTo>
                      <a:pt x="28854" y="5440"/>
                      <a:pt x="29477" y="5627"/>
                      <a:pt x="28869" y="5362"/>
                    </a:cubicBezTo>
                    <a:lnTo>
                      <a:pt x="28869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8776" y="5362"/>
                    </a:lnTo>
                    <a:lnTo>
                      <a:pt x="29306" y="5487"/>
                    </a:lnTo>
                    <a:lnTo>
                      <a:pt x="29087" y="5487"/>
                    </a:lnTo>
                    <a:lnTo>
                      <a:pt x="29384" y="5487"/>
                    </a:lnTo>
                    <a:lnTo>
                      <a:pt x="29617" y="5487"/>
                    </a:lnTo>
                    <a:lnTo>
                      <a:pt x="29617" y="5487"/>
                    </a:lnTo>
                    <a:cubicBezTo>
                      <a:pt x="29415" y="5487"/>
                      <a:pt x="29617" y="5487"/>
                      <a:pt x="29742" y="5487"/>
                    </a:cubicBezTo>
                    <a:lnTo>
                      <a:pt x="29742" y="5487"/>
                    </a:lnTo>
                    <a:lnTo>
                      <a:pt x="29742" y="5487"/>
                    </a:lnTo>
                    <a:cubicBezTo>
                      <a:pt x="30128" y="5587"/>
                      <a:pt x="30504" y="5722"/>
                      <a:pt x="30864" y="5892"/>
                    </a:cubicBezTo>
                    <a:cubicBezTo>
                      <a:pt x="30864" y="5892"/>
                      <a:pt x="30864" y="5892"/>
                      <a:pt x="30864" y="5892"/>
                    </a:cubicBezTo>
                    <a:cubicBezTo>
                      <a:pt x="30864" y="5892"/>
                      <a:pt x="31270" y="6048"/>
                      <a:pt x="31441" y="6142"/>
                    </a:cubicBezTo>
                    <a:lnTo>
                      <a:pt x="31441" y="6142"/>
                    </a:lnTo>
                    <a:lnTo>
                      <a:pt x="32189" y="6500"/>
                    </a:lnTo>
                    <a:cubicBezTo>
                      <a:pt x="31956" y="6376"/>
                      <a:pt x="31722" y="6235"/>
                      <a:pt x="31457" y="6111"/>
                    </a:cubicBezTo>
                    <a:lnTo>
                      <a:pt x="31457" y="6111"/>
                    </a:lnTo>
                    <a:lnTo>
                      <a:pt x="31176" y="5986"/>
                    </a:lnTo>
                    <a:lnTo>
                      <a:pt x="31301" y="5986"/>
                    </a:lnTo>
                    <a:cubicBezTo>
                      <a:pt x="31301" y="5986"/>
                      <a:pt x="30896" y="5846"/>
                      <a:pt x="31083" y="5892"/>
                    </a:cubicBezTo>
                    <a:lnTo>
                      <a:pt x="30958" y="5892"/>
                    </a:lnTo>
                    <a:lnTo>
                      <a:pt x="31239" y="5986"/>
                    </a:lnTo>
                    <a:cubicBezTo>
                      <a:pt x="31152" y="5934"/>
                      <a:pt x="31057" y="5897"/>
                      <a:pt x="30958" y="5877"/>
                    </a:cubicBezTo>
                    <a:cubicBezTo>
                      <a:pt x="31116" y="5914"/>
                      <a:pt x="31273" y="5961"/>
                      <a:pt x="31426" y="6017"/>
                    </a:cubicBezTo>
                    <a:lnTo>
                      <a:pt x="31285" y="6017"/>
                    </a:lnTo>
                    <a:lnTo>
                      <a:pt x="31285" y="6017"/>
                    </a:lnTo>
                    <a:lnTo>
                      <a:pt x="30584" y="4380"/>
                    </a:lnTo>
                    <a:cubicBezTo>
                      <a:pt x="38732" y="7070"/>
                      <a:pt x="44371" y="14514"/>
                      <a:pt x="44753" y="23086"/>
                    </a:cubicBezTo>
                    <a:cubicBezTo>
                      <a:pt x="44742" y="23396"/>
                      <a:pt x="44700" y="23704"/>
                      <a:pt x="44629" y="24006"/>
                    </a:cubicBezTo>
                    <a:cubicBezTo>
                      <a:pt x="44691" y="23912"/>
                      <a:pt x="44613" y="24084"/>
                      <a:pt x="44613" y="24131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296;p5"/>
              <p:cNvSpPr/>
              <p:nvPr/>
            </p:nvSpPr>
            <p:spPr>
              <a:xfrm rot="-5400000">
                <a:off x="10654635" y="7242900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5"/>
              <p:cNvSpPr/>
              <p:nvPr/>
            </p:nvSpPr>
            <p:spPr>
              <a:xfrm rot="-5400000">
                <a:off x="10647776" y="7212394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54" y="3664"/>
                    </a:moveTo>
                    <a:cubicBezTo>
                      <a:pt x="39537" y="6127"/>
                      <a:pt x="41028" y="10206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43" y="16981"/>
                      <a:pt x="28618" y="15103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5" y="9597"/>
                      <a:pt x="14368" y="11672"/>
                      <a:pt x="13032" y="14997"/>
                    </a:cubicBezTo>
                    <a:cubicBezTo>
                      <a:pt x="12195" y="17206"/>
                      <a:pt x="11803" y="19558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0" y="5897"/>
                      <a:pt x="14110" y="4190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17" y="-165"/>
                      <a:pt x="33283" y="1128"/>
                      <a:pt x="36554" y="3664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5"/>
              <p:cNvSpPr/>
              <p:nvPr/>
            </p:nvSpPr>
            <p:spPr>
              <a:xfrm rot="-5400000">
                <a:off x="10647372" y="7164586"/>
                <a:ext cx="26265" cy="62088"/>
              </a:xfrm>
              <a:custGeom>
                <a:avLst/>
                <a:gdLst/>
                <a:ahLst/>
                <a:cxnLst/>
                <a:rect l="l" t="t" r="r" b="b"/>
                <a:pathLst>
                  <a:path w="26265" h="62088" extrusionOk="0">
                    <a:moveTo>
                      <a:pt x="23476" y="0"/>
                    </a:moveTo>
                    <a:lnTo>
                      <a:pt x="25970" y="187"/>
                    </a:lnTo>
                    <a:lnTo>
                      <a:pt x="25970" y="9930"/>
                    </a:lnTo>
                    <a:cubicBezTo>
                      <a:pt x="24857" y="9809"/>
                      <a:pt x="23738" y="9746"/>
                      <a:pt x="22618" y="9743"/>
                    </a:cubicBezTo>
                    <a:cubicBezTo>
                      <a:pt x="21432" y="9564"/>
                      <a:pt x="20229" y="9943"/>
                      <a:pt x="19360" y="10771"/>
                    </a:cubicBezTo>
                    <a:cubicBezTo>
                      <a:pt x="18789" y="11459"/>
                      <a:pt x="18475" y="12325"/>
                      <a:pt x="18472" y="13219"/>
                    </a:cubicBezTo>
                    <a:lnTo>
                      <a:pt x="18472" y="17054"/>
                    </a:lnTo>
                    <a:lnTo>
                      <a:pt x="26266" y="17054"/>
                    </a:lnTo>
                    <a:lnTo>
                      <a:pt x="26266" y="25440"/>
                    </a:lnTo>
                    <a:lnTo>
                      <a:pt x="18472" y="25440"/>
                    </a:lnTo>
                    <a:lnTo>
                      <a:pt x="18472" y="62088"/>
                    </a:lnTo>
                    <a:lnTo>
                      <a:pt x="6672" y="62088"/>
                    </a:lnTo>
                    <a:lnTo>
                      <a:pt x="6672" y="25440"/>
                    </a:lnTo>
                    <a:lnTo>
                      <a:pt x="0" y="25440"/>
                    </a:lnTo>
                    <a:lnTo>
                      <a:pt x="0" y="17054"/>
                    </a:lnTo>
                    <a:lnTo>
                      <a:pt x="6500" y="17054"/>
                    </a:lnTo>
                    <a:lnTo>
                      <a:pt x="6500" y="14139"/>
                    </a:lnTo>
                    <a:cubicBezTo>
                      <a:pt x="6500" y="9275"/>
                      <a:pt x="7321" y="5924"/>
                      <a:pt x="8963" y="4084"/>
                    </a:cubicBezTo>
                    <a:cubicBezTo>
                      <a:pt x="10693" y="1356"/>
                      <a:pt x="14840" y="0"/>
                      <a:pt x="21434" y="0"/>
                    </a:cubicBezTo>
                    <a:cubicBezTo>
                      <a:pt x="22182" y="0"/>
                      <a:pt x="22868" y="0"/>
                      <a:pt x="23476" y="0"/>
                    </a:cubicBezTo>
                    <a:close/>
                  </a:path>
                </a:pathLst>
              </a:custGeom>
              <a:solidFill>
                <a:srgbClr val="00AEE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5"/>
              <p:cNvSpPr/>
              <p:nvPr/>
            </p:nvSpPr>
            <p:spPr>
              <a:xfrm rot="-5400000">
                <a:off x="10646133" y="6877843"/>
                <a:ext cx="44501" cy="46328"/>
              </a:xfrm>
              <a:custGeom>
                <a:avLst/>
                <a:gdLst/>
                <a:ahLst/>
                <a:cxnLst/>
                <a:rect l="l" t="t" r="r" b="b"/>
                <a:pathLst>
                  <a:path w="44501" h="46328" extrusionOk="0">
                    <a:moveTo>
                      <a:pt x="38977" y="39516"/>
                    </a:moveTo>
                    <a:cubicBezTo>
                      <a:pt x="35309" y="44047"/>
                      <a:pt x="29733" y="46318"/>
                      <a:pt x="22251" y="46328"/>
                    </a:cubicBezTo>
                    <a:cubicBezTo>
                      <a:pt x="14769" y="46339"/>
                      <a:pt x="9188" y="44068"/>
                      <a:pt x="5510" y="39516"/>
                    </a:cubicBezTo>
                    <a:cubicBezTo>
                      <a:pt x="1815" y="34897"/>
                      <a:pt x="-132" y="29124"/>
                      <a:pt x="7" y="23211"/>
                    </a:cubicBezTo>
                    <a:cubicBezTo>
                      <a:pt x="-118" y="17296"/>
                      <a:pt x="1829" y="11523"/>
                      <a:pt x="5510" y="6890"/>
                    </a:cubicBezTo>
                    <a:cubicBezTo>
                      <a:pt x="9188" y="2286"/>
                      <a:pt x="14769" y="-10"/>
                      <a:pt x="22251" y="0"/>
                    </a:cubicBezTo>
                    <a:cubicBezTo>
                      <a:pt x="29733" y="10"/>
                      <a:pt x="35309" y="2307"/>
                      <a:pt x="38977" y="6890"/>
                    </a:cubicBezTo>
                    <a:cubicBezTo>
                      <a:pt x="42662" y="11521"/>
                      <a:pt x="44614" y="17294"/>
                      <a:pt x="44495" y="23211"/>
                    </a:cubicBezTo>
                    <a:cubicBezTo>
                      <a:pt x="44629" y="29126"/>
                      <a:pt x="42675" y="34898"/>
                      <a:pt x="38977" y="39516"/>
                    </a:cubicBezTo>
                    <a:close/>
                    <a:moveTo>
                      <a:pt x="29874" y="33281"/>
                    </a:moveTo>
                    <a:cubicBezTo>
                      <a:pt x="31833" y="30303"/>
                      <a:pt x="32775" y="26769"/>
                      <a:pt x="32555" y="23211"/>
                    </a:cubicBezTo>
                    <a:cubicBezTo>
                      <a:pt x="32782" y="19652"/>
                      <a:pt x="31841" y="16116"/>
                      <a:pt x="29874" y="13141"/>
                    </a:cubicBezTo>
                    <a:cubicBezTo>
                      <a:pt x="26221" y="8901"/>
                      <a:pt x="19824" y="8424"/>
                      <a:pt x="15584" y="12076"/>
                    </a:cubicBezTo>
                    <a:cubicBezTo>
                      <a:pt x="15204" y="12404"/>
                      <a:pt x="14847" y="12760"/>
                      <a:pt x="14519" y="13141"/>
                    </a:cubicBezTo>
                    <a:cubicBezTo>
                      <a:pt x="12548" y="16114"/>
                      <a:pt x="11600" y="19650"/>
                      <a:pt x="11823" y="23211"/>
                    </a:cubicBezTo>
                    <a:cubicBezTo>
                      <a:pt x="11600" y="26782"/>
                      <a:pt x="12546" y="30328"/>
                      <a:pt x="14519" y="33312"/>
                    </a:cubicBezTo>
                    <a:cubicBezTo>
                      <a:pt x="18145" y="37552"/>
                      <a:pt x="24521" y="38050"/>
                      <a:pt x="28761" y="34425"/>
                    </a:cubicBezTo>
                    <a:cubicBezTo>
                      <a:pt x="29160" y="34083"/>
                      <a:pt x="29532" y="33711"/>
                      <a:pt x="29874" y="3331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5"/>
              <p:cNvSpPr/>
              <p:nvPr/>
            </p:nvSpPr>
            <p:spPr>
              <a:xfrm rot="-5400000">
                <a:off x="10635737" y="7067825"/>
                <a:ext cx="65151" cy="46470"/>
              </a:xfrm>
              <a:custGeom>
                <a:avLst/>
                <a:gdLst/>
                <a:ahLst/>
                <a:cxnLst/>
                <a:rect l="l" t="t" r="r" b="b"/>
                <a:pathLst>
                  <a:path w="65151" h="46470" extrusionOk="0">
                    <a:moveTo>
                      <a:pt x="56850" y="1186"/>
                    </a:moveTo>
                    <a:cubicBezTo>
                      <a:pt x="58932" y="2071"/>
                      <a:pt x="60753" y="3478"/>
                      <a:pt x="62134" y="5271"/>
                    </a:cubicBezTo>
                    <a:cubicBezTo>
                      <a:pt x="63468" y="6974"/>
                      <a:pt x="64359" y="8983"/>
                      <a:pt x="64722" y="11116"/>
                    </a:cubicBezTo>
                    <a:cubicBezTo>
                      <a:pt x="65051" y="13335"/>
                      <a:pt x="65191" y="15577"/>
                      <a:pt x="65143" y="17819"/>
                    </a:cubicBezTo>
                    <a:lnTo>
                      <a:pt x="65143" y="46470"/>
                    </a:lnTo>
                    <a:lnTo>
                      <a:pt x="52953" y="46470"/>
                    </a:lnTo>
                    <a:lnTo>
                      <a:pt x="52953" y="17523"/>
                    </a:lnTo>
                    <a:cubicBezTo>
                      <a:pt x="53012" y="16064"/>
                      <a:pt x="52728" y="14612"/>
                      <a:pt x="52127" y="13283"/>
                    </a:cubicBezTo>
                    <a:cubicBezTo>
                      <a:pt x="50992" y="11152"/>
                      <a:pt x="48682" y="9920"/>
                      <a:pt x="46281" y="10165"/>
                    </a:cubicBezTo>
                    <a:cubicBezTo>
                      <a:pt x="43382" y="9944"/>
                      <a:pt x="40660" y="11583"/>
                      <a:pt x="39500" y="14249"/>
                    </a:cubicBezTo>
                    <a:cubicBezTo>
                      <a:pt x="38811" y="15902"/>
                      <a:pt x="38482" y="17682"/>
                      <a:pt x="38534" y="19471"/>
                    </a:cubicBezTo>
                    <a:lnTo>
                      <a:pt x="38534" y="46470"/>
                    </a:lnTo>
                    <a:lnTo>
                      <a:pt x="26562" y="46470"/>
                    </a:lnTo>
                    <a:lnTo>
                      <a:pt x="26562" y="19409"/>
                    </a:lnTo>
                    <a:cubicBezTo>
                      <a:pt x="26671" y="17415"/>
                      <a:pt x="26391" y="15419"/>
                      <a:pt x="25736" y="13532"/>
                    </a:cubicBezTo>
                    <a:cubicBezTo>
                      <a:pt x="24678" y="11295"/>
                      <a:pt x="22321" y="9970"/>
                      <a:pt x="19859" y="10228"/>
                    </a:cubicBezTo>
                    <a:cubicBezTo>
                      <a:pt x="16461" y="10228"/>
                      <a:pt x="14180" y="11329"/>
                      <a:pt x="13016" y="13532"/>
                    </a:cubicBezTo>
                    <a:cubicBezTo>
                      <a:pt x="12276" y="15295"/>
                      <a:pt x="11945" y="17204"/>
                      <a:pt x="12050" y="19113"/>
                    </a:cubicBezTo>
                    <a:lnTo>
                      <a:pt x="12050" y="46470"/>
                    </a:lnTo>
                    <a:lnTo>
                      <a:pt x="0" y="46470"/>
                    </a:lnTo>
                    <a:lnTo>
                      <a:pt x="0" y="1108"/>
                    </a:lnTo>
                    <a:lnTo>
                      <a:pt x="11551" y="1108"/>
                    </a:lnTo>
                    <a:lnTo>
                      <a:pt x="11551" y="7765"/>
                    </a:lnTo>
                    <a:cubicBezTo>
                      <a:pt x="12642" y="5853"/>
                      <a:pt x="14056" y="4144"/>
                      <a:pt x="15728" y="2714"/>
                    </a:cubicBezTo>
                    <a:cubicBezTo>
                      <a:pt x="20982" y="-698"/>
                      <a:pt x="27714" y="-843"/>
                      <a:pt x="33109" y="2340"/>
                    </a:cubicBezTo>
                    <a:cubicBezTo>
                      <a:pt x="34832" y="3792"/>
                      <a:pt x="36157" y="5659"/>
                      <a:pt x="36959" y="7765"/>
                    </a:cubicBezTo>
                    <a:cubicBezTo>
                      <a:pt x="38303" y="5303"/>
                      <a:pt x="40306" y="3263"/>
                      <a:pt x="42743" y="1872"/>
                    </a:cubicBezTo>
                    <a:cubicBezTo>
                      <a:pt x="45282" y="604"/>
                      <a:pt x="48088" y="-38"/>
                      <a:pt x="50926" y="2"/>
                    </a:cubicBezTo>
                    <a:cubicBezTo>
                      <a:pt x="52959" y="13"/>
                      <a:pt x="54970" y="415"/>
                      <a:pt x="56850" y="11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301;p5"/>
              <p:cNvSpPr/>
              <p:nvPr/>
            </p:nvSpPr>
            <p:spPr>
              <a:xfrm rot="-5400000">
                <a:off x="10654635" y="7010498"/>
                <a:ext cx="12049" cy="61776"/>
              </a:xfrm>
              <a:custGeom>
                <a:avLst/>
                <a:gdLst/>
                <a:ahLst/>
                <a:cxnLst/>
                <a:rect l="l" t="t" r="r" b="b"/>
                <a:pathLst>
                  <a:path w="12049" h="61776" extrusionOk="0">
                    <a:moveTo>
                      <a:pt x="12050" y="10912"/>
                    </a:moveTo>
                    <a:lnTo>
                      <a:pt x="0" y="10912"/>
                    </a:lnTo>
                    <a:lnTo>
                      <a:pt x="0" y="0"/>
                    </a:lnTo>
                    <a:lnTo>
                      <a:pt x="12050" y="0"/>
                    </a:lnTo>
                    <a:close/>
                    <a:moveTo>
                      <a:pt x="0" y="16321"/>
                    </a:moveTo>
                    <a:lnTo>
                      <a:pt x="12050" y="16321"/>
                    </a:lnTo>
                    <a:lnTo>
                      <a:pt x="12050" y="61776"/>
                    </a:lnTo>
                    <a:lnTo>
                      <a:pt x="0" y="61776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302;p5"/>
              <p:cNvSpPr/>
              <p:nvPr/>
            </p:nvSpPr>
            <p:spPr>
              <a:xfrm rot="-5400000">
                <a:off x="10647776" y="6979991"/>
                <a:ext cx="41027" cy="46516"/>
              </a:xfrm>
              <a:custGeom>
                <a:avLst/>
                <a:gdLst/>
                <a:ahLst/>
                <a:cxnLst/>
                <a:rect l="l" t="t" r="r" b="b"/>
                <a:pathLst>
                  <a:path w="41027" h="46516" extrusionOk="0">
                    <a:moveTo>
                      <a:pt x="36570" y="3664"/>
                    </a:moveTo>
                    <a:cubicBezTo>
                      <a:pt x="39531" y="6127"/>
                      <a:pt x="41028" y="10211"/>
                      <a:pt x="41028" y="15901"/>
                    </a:cubicBezTo>
                    <a:lnTo>
                      <a:pt x="41028" y="46517"/>
                    </a:lnTo>
                    <a:lnTo>
                      <a:pt x="28854" y="46517"/>
                    </a:lnTo>
                    <a:lnTo>
                      <a:pt x="28854" y="18863"/>
                    </a:lnTo>
                    <a:cubicBezTo>
                      <a:pt x="28950" y="16981"/>
                      <a:pt x="28626" y="15101"/>
                      <a:pt x="27903" y="13360"/>
                    </a:cubicBezTo>
                    <a:cubicBezTo>
                      <a:pt x="26734" y="11038"/>
                      <a:pt x="24536" y="9869"/>
                      <a:pt x="21278" y="9869"/>
                    </a:cubicBezTo>
                    <a:cubicBezTo>
                      <a:pt x="17707" y="9588"/>
                      <a:pt x="14369" y="11668"/>
                      <a:pt x="13047" y="14997"/>
                    </a:cubicBezTo>
                    <a:cubicBezTo>
                      <a:pt x="12196" y="17202"/>
                      <a:pt x="11799" y="19556"/>
                      <a:pt x="11878" y="21918"/>
                    </a:cubicBezTo>
                    <a:lnTo>
                      <a:pt x="11878" y="46517"/>
                    </a:lnTo>
                    <a:lnTo>
                      <a:pt x="0" y="46517"/>
                    </a:lnTo>
                    <a:lnTo>
                      <a:pt x="0" y="1155"/>
                    </a:lnTo>
                    <a:lnTo>
                      <a:pt x="11504" y="1155"/>
                    </a:lnTo>
                    <a:lnTo>
                      <a:pt x="11504" y="7811"/>
                    </a:lnTo>
                    <a:cubicBezTo>
                      <a:pt x="12656" y="5901"/>
                      <a:pt x="14115" y="4195"/>
                      <a:pt x="15822" y="2760"/>
                    </a:cubicBezTo>
                    <a:cubicBezTo>
                      <a:pt x="18522" y="851"/>
                      <a:pt x="21777" y="-114"/>
                      <a:pt x="25081" y="17"/>
                    </a:cubicBezTo>
                    <a:cubicBezTo>
                      <a:pt x="29221" y="-164"/>
                      <a:pt x="33292" y="1128"/>
                      <a:pt x="36570" y="366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3" name="Google Shape;303;p5"/>
              <p:cNvSpPr/>
              <p:nvPr/>
            </p:nvSpPr>
            <p:spPr>
              <a:xfrm rot="-5400000">
                <a:off x="10646435" y="6930030"/>
                <a:ext cx="43636" cy="46747"/>
              </a:xfrm>
              <a:custGeom>
                <a:avLst/>
                <a:gdLst/>
                <a:ahLst/>
                <a:cxnLst/>
                <a:rect l="l" t="t" r="r" b="b"/>
                <a:pathLst>
                  <a:path w="43636" h="46747" extrusionOk="0">
                    <a:moveTo>
                      <a:pt x="32111" y="2070"/>
                    </a:moveTo>
                    <a:cubicBezTo>
                      <a:pt x="35215" y="3467"/>
                      <a:pt x="37854" y="5723"/>
                      <a:pt x="39718" y="8570"/>
                    </a:cubicBezTo>
                    <a:cubicBezTo>
                      <a:pt x="41567" y="11297"/>
                      <a:pt x="42768" y="14411"/>
                      <a:pt x="43226" y="17674"/>
                    </a:cubicBezTo>
                    <a:cubicBezTo>
                      <a:pt x="43580" y="20569"/>
                      <a:pt x="43706" y="23488"/>
                      <a:pt x="43600" y="26403"/>
                    </a:cubicBezTo>
                    <a:lnTo>
                      <a:pt x="11535" y="26403"/>
                    </a:lnTo>
                    <a:cubicBezTo>
                      <a:pt x="11707" y="30815"/>
                      <a:pt x="13250" y="33917"/>
                      <a:pt x="16134" y="35756"/>
                    </a:cubicBezTo>
                    <a:cubicBezTo>
                      <a:pt x="18045" y="36908"/>
                      <a:pt x="20247" y="37487"/>
                      <a:pt x="22478" y="37424"/>
                    </a:cubicBezTo>
                    <a:cubicBezTo>
                      <a:pt x="24782" y="37530"/>
                      <a:pt x="27047" y="36812"/>
                      <a:pt x="28869" y="35398"/>
                    </a:cubicBezTo>
                    <a:cubicBezTo>
                      <a:pt x="29850" y="34559"/>
                      <a:pt x="30651" y="33530"/>
                      <a:pt x="31223" y="32374"/>
                    </a:cubicBezTo>
                    <a:lnTo>
                      <a:pt x="43023" y="32374"/>
                    </a:lnTo>
                    <a:cubicBezTo>
                      <a:pt x="42488" y="35413"/>
                      <a:pt x="40992" y="38200"/>
                      <a:pt x="38752" y="40324"/>
                    </a:cubicBezTo>
                    <a:cubicBezTo>
                      <a:pt x="34808" y="44611"/>
                      <a:pt x="29306" y="46746"/>
                      <a:pt x="22197" y="46746"/>
                    </a:cubicBezTo>
                    <a:cubicBezTo>
                      <a:pt x="16558" y="46814"/>
                      <a:pt x="11074" y="44900"/>
                      <a:pt x="6703" y="41337"/>
                    </a:cubicBezTo>
                    <a:cubicBezTo>
                      <a:pt x="2234" y="37721"/>
                      <a:pt x="0" y="31849"/>
                      <a:pt x="0" y="23722"/>
                    </a:cubicBezTo>
                    <a:cubicBezTo>
                      <a:pt x="0" y="16105"/>
                      <a:pt x="2022" y="10259"/>
                      <a:pt x="6064" y="6185"/>
                    </a:cubicBezTo>
                    <a:cubicBezTo>
                      <a:pt x="10212" y="2046"/>
                      <a:pt x="15889" y="-189"/>
                      <a:pt x="21745" y="13"/>
                    </a:cubicBezTo>
                    <a:cubicBezTo>
                      <a:pt x="25307" y="-48"/>
                      <a:pt x="28843" y="654"/>
                      <a:pt x="32111" y="2070"/>
                    </a:cubicBezTo>
                    <a:close/>
                    <a:moveTo>
                      <a:pt x="14965" y="12000"/>
                    </a:moveTo>
                    <a:cubicBezTo>
                      <a:pt x="13208" y="13893"/>
                      <a:pt x="12115" y="16306"/>
                      <a:pt x="11847" y="18874"/>
                    </a:cubicBezTo>
                    <a:lnTo>
                      <a:pt x="31659" y="18874"/>
                    </a:lnTo>
                    <a:cubicBezTo>
                      <a:pt x="31622" y="16226"/>
                      <a:pt x="30493" y="13711"/>
                      <a:pt x="28542" y="11922"/>
                    </a:cubicBezTo>
                    <a:cubicBezTo>
                      <a:pt x="26648" y="10316"/>
                      <a:pt x="24229" y="9462"/>
                      <a:pt x="21745" y="9521"/>
                    </a:cubicBezTo>
                    <a:cubicBezTo>
                      <a:pt x="19240" y="9381"/>
                      <a:pt x="16788" y="10278"/>
                      <a:pt x="14965" y="1200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633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4" name="Google Shape;304;p5"/>
            <p:cNvSpPr txBox="1"/>
            <p:nvPr/>
          </p:nvSpPr>
          <p:spPr>
            <a:xfrm rot="16200000">
              <a:off x="9874832" y="6117216"/>
              <a:ext cx="1384995" cy="773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2"/>
                <a:buFont typeface="Arial"/>
                <a:buNone/>
              </a:pPr>
              <a:r>
                <a:rPr lang="en-IN" sz="637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2. All rights reserved.</a:t>
              </a:r>
              <a:endParaRPr sz="127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05" name="Google Shape;305;p5"/>
            <p:cNvPicPr preferRelativeResize="0"/>
            <p:nvPr/>
          </p:nvPicPr>
          <p:blipFill rotWithShape="1">
            <a:blip r:embed="rId19">
              <a:alphaModFix/>
            </a:blip>
            <a:srcRect/>
            <a:stretch/>
          </p:blipFill>
          <p:spPr>
            <a:xfrm rot="-5400000">
              <a:off x="10361309" y="7048329"/>
              <a:ext cx="400614" cy="6235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06" name="Google Shape;306;p5"/>
          <p:cNvSpPr txBox="1"/>
          <p:nvPr/>
        </p:nvSpPr>
        <p:spPr>
          <a:xfrm>
            <a:off x="11489118" y="6493892"/>
            <a:ext cx="151718" cy="110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77"/>
              <a:buFont typeface="Arial"/>
              <a:buNone/>
            </a:pPr>
            <a:fld id="{00000000-1234-1234-1234-123412341234}" type="slidenum">
              <a:rPr lang="en-IN" sz="796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77"/>
                <a:buFont typeface="Arial"/>
                <a:buNone/>
              </a:pPr>
              <a:t>‹#›</a:t>
            </a:fld>
            <a:endParaRPr sz="796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07" name="Google Shape;307;p5"/>
          <p:cNvCxnSpPr/>
          <p:nvPr/>
        </p:nvCxnSpPr>
        <p:spPr>
          <a:xfrm>
            <a:off x="539400" y="37756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28933504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27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5">
          <p15:clr>
            <a:srgbClr val="F26B43"/>
          </p15:clr>
        </p15:guide>
        <p15:guide id="2" pos="304">
          <p15:clr>
            <a:srgbClr val="F26B43"/>
          </p15:clr>
        </p15:guide>
        <p15:guide id="3" pos="6431">
          <p15:clr>
            <a:srgbClr val="F26B43"/>
          </p15:clr>
        </p15:guide>
        <p15:guide id="4" orient="horz" pos="1247">
          <p15:clr>
            <a:srgbClr val="F26B43"/>
          </p15:clr>
        </p15:guide>
        <p15:guide id="5" orient="horz" pos="4459">
          <p15:clr>
            <a:srgbClr val="F26B43"/>
          </p15:clr>
        </p15:guide>
        <p15:guide id="6" pos="3288">
          <p15:clr>
            <a:srgbClr val="F26B43"/>
          </p15:clr>
        </p15:guide>
        <p15:guide id="7" pos="344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6" Type="http://schemas.openxmlformats.org/officeDocument/2006/relationships/image" Target="../media/image2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6.xml"/><Relationship Id="rId6" Type="http://schemas.openxmlformats.org/officeDocument/2006/relationships/image" Target="../media/image3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36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3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DB273E5-0C24-1B56-4A98-A66B6374DB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7826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2" name="Google Shape;352;p1"/>
          <p:cNvSpPr txBox="1">
            <a:spLocks noGrp="1"/>
          </p:cNvSpPr>
          <p:nvPr>
            <p:ph type="ctrTitle"/>
          </p:nvPr>
        </p:nvSpPr>
        <p:spPr>
          <a:xfrm>
            <a:off x="892010" y="3429000"/>
            <a:ext cx="5478239" cy="20774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</a:pPr>
            <a:r>
              <a:rPr lang="fr-FR" dirty="0"/>
              <a:t>AMDIE - </a:t>
            </a:r>
            <a:r>
              <a:rPr lang="en-IN" dirty="0"/>
              <a:t>Infomineo </a:t>
            </a:r>
            <a:br>
              <a:rPr lang="en-IN" dirty="0"/>
            </a:br>
            <a:r>
              <a:rPr lang="en-IN" dirty="0"/>
              <a:t>Data Analytics</a:t>
            </a:r>
            <a:br>
              <a:rPr lang="en-IN" dirty="0"/>
            </a:br>
            <a:r>
              <a:rPr lang="en-IN" dirty="0"/>
              <a:t>Services</a:t>
            </a:r>
            <a:r>
              <a:rPr lang="fr-FR" dirty="0"/>
              <a:t>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6FEF3C4-70D2-7E25-452D-493BB51E17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1017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6FEF3C4-70D2-7E25-452D-493BB51E17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7" name="Google Shape;407;p6"/>
          <p:cNvSpPr txBox="1">
            <a:spLocks noGrp="1"/>
          </p:cNvSpPr>
          <p:nvPr>
            <p:ph type="title"/>
          </p:nvPr>
        </p:nvSpPr>
        <p:spPr>
          <a:xfrm>
            <a:off x="737591" y="4519317"/>
            <a:ext cx="8494899" cy="747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lv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</a:pPr>
            <a:r>
              <a:rPr lang="fr-FR" sz="54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Budget &amp; Nest </a:t>
            </a:r>
            <a:r>
              <a:rPr lang="fr-FR" sz="5400" b="1" dirty="0" err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tep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0841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2E54F5-06EF-69E6-E9D7-619EBB75D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7C1337-8E5A-FE51-9A4B-946507F5B3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093A74-0D1E-9022-CE9C-A0131689FD0D}"/>
              </a:ext>
            </a:extLst>
          </p:cNvPr>
          <p:cNvSpPr/>
          <p:nvPr/>
        </p:nvSpPr>
        <p:spPr>
          <a:xfrm>
            <a:off x="2416629" y="3086100"/>
            <a:ext cx="4980214" cy="233498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 err="1"/>
              <a:t>Nacer</a:t>
            </a:r>
            <a:endParaRPr lang="fr-FR" sz="3200" b="1" dirty="0"/>
          </a:p>
        </p:txBody>
      </p:sp>
    </p:spTree>
    <p:extLst>
      <p:ext uri="{BB962C8B-B14F-4D97-AF65-F5344CB8AC3E}">
        <p14:creationId xmlns:p14="http://schemas.microsoft.com/office/powerpoint/2010/main" val="11730909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CFF21BC-EE51-91D9-BAE7-87CD9F470E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534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5" name="Google Shape;365;p3"/>
          <p:cNvSpPr/>
          <p:nvPr/>
        </p:nvSpPr>
        <p:spPr>
          <a:xfrm>
            <a:off x="1059634" y="2921370"/>
            <a:ext cx="4361452" cy="2364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800" dirty="0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</a:rPr>
              <a:t>1.</a:t>
            </a:r>
            <a:r>
              <a:rPr lang="fr-FR" sz="2800" b="1" dirty="0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sz="28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Data Analytics Services</a:t>
            </a:r>
            <a:endParaRPr lang="fr-FR" sz="1800" dirty="0"/>
          </a:p>
          <a:p>
            <a:pPr marL="0" marR="0" lvl="0" indent="0" algn="l">
              <a:spcBef>
                <a:spcPts val="2500"/>
              </a:spcBef>
              <a:spcAft>
                <a:spcPts val="0"/>
              </a:spcAft>
              <a:buNone/>
            </a:pPr>
            <a:r>
              <a:rPr lang="fr-FR" sz="2800" dirty="0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</a:rPr>
              <a:t>2.</a:t>
            </a:r>
            <a:r>
              <a:rPr lang="fr-FR" sz="28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Contexte &amp; Proposition de solution</a:t>
            </a:r>
          </a:p>
          <a:p>
            <a:pPr>
              <a:spcBef>
                <a:spcPts val="2500"/>
              </a:spcBef>
            </a:pPr>
            <a:r>
              <a:rPr lang="fr-FR" sz="2800" dirty="0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</a:rPr>
              <a:t>3.</a:t>
            </a:r>
            <a:r>
              <a:rPr lang="fr-FR" sz="28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Budget &amp; Next </a:t>
            </a:r>
            <a:r>
              <a:rPr lang="fr-FR" sz="2800" b="1" dirty="0" err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teps</a:t>
            </a:r>
            <a:endParaRPr lang="fr-FR" sz="2800" b="1" dirty="0">
              <a:solidFill>
                <a:schemeClr val="lt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66" name="Google Shape;366;p3"/>
          <p:cNvSpPr/>
          <p:nvPr/>
        </p:nvSpPr>
        <p:spPr>
          <a:xfrm>
            <a:off x="550863" y="976997"/>
            <a:ext cx="2993255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7000" dirty="0">
                <a:solidFill>
                  <a:srgbClr val="43E1D3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Agenda</a:t>
            </a:r>
            <a:endParaRPr lang="fr-FR" dirty="0"/>
          </a:p>
        </p:txBody>
      </p:sp>
      <p:pic>
        <p:nvPicPr>
          <p:cNvPr id="367" name="Google Shape;367;p3"/>
          <p:cNvPicPr preferRelativeResize="0"/>
          <p:nvPr/>
        </p:nvPicPr>
        <p:blipFill rotWithShape="1">
          <a:blip r:embed="rId6">
            <a:alphaModFix/>
          </a:blip>
          <a:srcRect t="8009"/>
          <a:stretch/>
        </p:blipFill>
        <p:spPr>
          <a:xfrm>
            <a:off x="6383337" y="549274"/>
            <a:ext cx="5257800" cy="63087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7644491-CA41-DB4E-EA6E-572A0A9CBA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2226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4" name="Google Shape;524;p1"/>
          <p:cNvSpPr txBox="1">
            <a:spLocks noGrp="1"/>
          </p:cNvSpPr>
          <p:nvPr>
            <p:ph type="title"/>
          </p:nvPr>
        </p:nvSpPr>
        <p:spPr>
          <a:xfrm>
            <a:off x="1684775" y="4302056"/>
            <a:ext cx="4296538" cy="1322413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6274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IN" dirty="0"/>
              <a:t>Data Analytics</a:t>
            </a:r>
            <a:br>
              <a:rPr lang="en-IN" dirty="0"/>
            </a:br>
            <a:r>
              <a:rPr lang="en-IN" dirty="0"/>
              <a:t>Services</a:t>
            </a:r>
            <a:endParaRPr dirty="0"/>
          </a:p>
        </p:txBody>
      </p:sp>
      <p:sp>
        <p:nvSpPr>
          <p:cNvPr id="525" name="Google Shape;525;p1"/>
          <p:cNvSpPr txBox="1">
            <a:spLocks noGrp="1"/>
          </p:cNvSpPr>
          <p:nvPr>
            <p:ph type="sldNum" idx="12"/>
          </p:nvPr>
        </p:nvSpPr>
        <p:spPr>
          <a:xfrm>
            <a:off x="10387351" y="5844757"/>
            <a:ext cx="119876" cy="110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fld id="{00000000-1234-1234-1234-123412341234}" type="slidenum">
              <a:rPr lang="en-IN">
                <a:solidFill>
                  <a:srgbClr val="FFFFFF"/>
                </a:solidFill>
              </a:rPr>
              <a:pPr/>
              <a:t>3</a:t>
            </a:fld>
            <a:endParaRPr>
              <a:solidFill>
                <a:srgbClr val="FFFFFF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03" name="Google Shape;803;p3"/>
          <p:cNvCxnSpPr/>
          <p:nvPr/>
        </p:nvCxnSpPr>
        <p:spPr>
          <a:xfrm flipH="1">
            <a:off x="4881183" y="4788376"/>
            <a:ext cx="1436957" cy="1269524"/>
          </a:xfrm>
          <a:prstGeom prst="straightConnector1">
            <a:avLst/>
          </a:prstGeom>
          <a:noFill/>
          <a:ln w="9525" cap="flat" cmpd="sng">
            <a:solidFill>
              <a:srgbClr val="BCFFD8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04" name="Google Shape;804;p3"/>
          <p:cNvCxnSpPr/>
          <p:nvPr/>
        </p:nvCxnSpPr>
        <p:spPr>
          <a:xfrm>
            <a:off x="4798597" y="2489541"/>
            <a:ext cx="2073389" cy="1369554"/>
          </a:xfrm>
          <a:prstGeom prst="straightConnector1">
            <a:avLst/>
          </a:prstGeom>
          <a:noFill/>
          <a:ln w="9525" cap="flat" cmpd="sng">
            <a:solidFill>
              <a:srgbClr val="BCFFD8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05" name="Google Shape;805;p3"/>
          <p:cNvCxnSpPr/>
          <p:nvPr/>
        </p:nvCxnSpPr>
        <p:spPr>
          <a:xfrm flipH="1">
            <a:off x="9375823" y="4788376"/>
            <a:ext cx="1436957" cy="1269524"/>
          </a:xfrm>
          <a:prstGeom prst="straightConnector1">
            <a:avLst/>
          </a:prstGeom>
          <a:noFill/>
          <a:ln w="9525" cap="flat" cmpd="sng">
            <a:solidFill>
              <a:srgbClr val="BCFFD8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06" name="Google Shape;806;p3"/>
          <p:cNvCxnSpPr/>
          <p:nvPr/>
        </p:nvCxnSpPr>
        <p:spPr>
          <a:xfrm>
            <a:off x="9268853" y="2489541"/>
            <a:ext cx="2073389" cy="1369554"/>
          </a:xfrm>
          <a:prstGeom prst="straightConnector1">
            <a:avLst/>
          </a:prstGeom>
          <a:noFill/>
          <a:ln w="9525" cap="flat" cmpd="sng">
            <a:solidFill>
              <a:srgbClr val="BCFFD8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07" name="Google Shape;807;p3"/>
          <p:cNvSpPr/>
          <p:nvPr/>
        </p:nvSpPr>
        <p:spPr>
          <a:xfrm>
            <a:off x="623376" y="3192659"/>
            <a:ext cx="1650641" cy="1650641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8" name="Google Shape;808;p3"/>
          <p:cNvSpPr/>
          <p:nvPr/>
        </p:nvSpPr>
        <p:spPr>
          <a:xfrm>
            <a:off x="5270679" y="3192659"/>
            <a:ext cx="1650641" cy="1650641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9" name="Google Shape;809;p3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nfomineo services – Transforming data into impact</a:t>
            </a:r>
            <a:endParaRPr/>
          </a:p>
        </p:txBody>
      </p:sp>
      <p:sp>
        <p:nvSpPr>
          <p:cNvPr id="810" name="Google Shape;810;p3"/>
          <p:cNvSpPr/>
          <p:nvPr/>
        </p:nvSpPr>
        <p:spPr>
          <a:xfrm>
            <a:off x="1164839" y="3388129"/>
            <a:ext cx="567714" cy="4441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r>
              <a:rPr lang="en-US"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</a:t>
            </a:r>
            <a:endParaRPr/>
          </a:p>
        </p:txBody>
      </p:sp>
      <p:pic>
        <p:nvPicPr>
          <p:cNvPr id="811" name="Google Shape;811;p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24308" y="3879639"/>
            <a:ext cx="648776" cy="652990"/>
          </a:xfrm>
          <a:prstGeom prst="rect">
            <a:avLst/>
          </a:prstGeom>
          <a:noFill/>
          <a:ln>
            <a:noFill/>
          </a:ln>
        </p:spPr>
      </p:pic>
      <p:sp>
        <p:nvSpPr>
          <p:cNvPr id="812" name="Google Shape;812;p3"/>
          <p:cNvSpPr/>
          <p:nvPr/>
        </p:nvSpPr>
        <p:spPr>
          <a:xfrm>
            <a:off x="5589099" y="3388129"/>
            <a:ext cx="1013800" cy="247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r>
              <a:rPr lang="en-US"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sights</a:t>
            </a:r>
            <a:endParaRPr sz="2000" b="1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13" name="Google Shape;813;p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771387" y="3805310"/>
            <a:ext cx="649224" cy="649221"/>
          </a:xfrm>
          <a:prstGeom prst="rect">
            <a:avLst/>
          </a:prstGeom>
          <a:noFill/>
          <a:ln>
            <a:noFill/>
          </a:ln>
        </p:spPr>
      </p:pic>
      <p:sp>
        <p:nvSpPr>
          <p:cNvPr id="814" name="Google Shape;814;p3"/>
          <p:cNvSpPr/>
          <p:nvPr/>
        </p:nvSpPr>
        <p:spPr>
          <a:xfrm>
            <a:off x="3045344" y="1839020"/>
            <a:ext cx="1576668" cy="3077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</a:pPr>
            <a:r>
              <a:rPr lang="en-US" sz="28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Analysis</a:t>
            </a:r>
            <a:endParaRPr/>
          </a:p>
        </p:txBody>
      </p:sp>
      <p:sp>
        <p:nvSpPr>
          <p:cNvPr id="815" name="Google Shape;815;p3"/>
          <p:cNvSpPr/>
          <p:nvPr/>
        </p:nvSpPr>
        <p:spPr>
          <a:xfrm>
            <a:off x="2840167" y="5259505"/>
            <a:ext cx="1958114" cy="7848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Data Analytics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Cleaning and analysing </a:t>
            </a:r>
            <a:r>
              <a:rPr lang="en-US" sz="1400" b="0" i="0" u="sng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large </a:t>
            </a:r>
            <a:r>
              <a:rPr lang="en-US"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data sets</a:t>
            </a:r>
            <a:endParaRPr/>
          </a:p>
        </p:txBody>
      </p:sp>
      <p:pic>
        <p:nvPicPr>
          <p:cNvPr id="816" name="Google Shape;816;p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595196" y="4665646"/>
            <a:ext cx="448056" cy="448056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3"/>
          <p:cNvSpPr/>
          <p:nvPr/>
        </p:nvSpPr>
        <p:spPr>
          <a:xfrm>
            <a:off x="2745526" y="3304612"/>
            <a:ext cx="2147396" cy="7848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Business Research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Finding and analysing </a:t>
            </a:r>
            <a:r>
              <a:rPr lang="en-US" sz="1400" b="0" i="0" u="sng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xternal</a:t>
            </a:r>
            <a:r>
              <a:rPr lang="en-US"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 data</a:t>
            </a:r>
            <a:endParaRPr/>
          </a:p>
        </p:txBody>
      </p:sp>
      <p:pic>
        <p:nvPicPr>
          <p:cNvPr id="818" name="Google Shape;818;p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595196" y="2729169"/>
            <a:ext cx="448056" cy="448056"/>
          </a:xfrm>
          <a:prstGeom prst="rect">
            <a:avLst/>
          </a:prstGeom>
          <a:noFill/>
          <a:ln>
            <a:noFill/>
          </a:ln>
        </p:spPr>
      </p:pic>
      <p:sp>
        <p:nvSpPr>
          <p:cNvPr id="819" name="Google Shape;819;p3"/>
          <p:cNvSpPr/>
          <p:nvPr/>
        </p:nvSpPr>
        <p:spPr>
          <a:xfrm>
            <a:off x="6760812" y="1836519"/>
            <a:ext cx="310027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</a:pPr>
            <a:r>
              <a:rPr lang="en-US" sz="28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Communication</a:t>
            </a:r>
            <a:endParaRPr/>
          </a:p>
        </p:txBody>
      </p:sp>
      <p:sp>
        <p:nvSpPr>
          <p:cNvPr id="820" name="Google Shape;820;p3"/>
          <p:cNvSpPr/>
          <p:nvPr/>
        </p:nvSpPr>
        <p:spPr>
          <a:xfrm>
            <a:off x="7386441" y="3304613"/>
            <a:ext cx="1817671" cy="7848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Graphic Design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Converting insights into </a:t>
            </a:r>
            <a:r>
              <a:rPr lang="en-US" sz="1400" b="0" i="0" u="sng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visual</a:t>
            </a:r>
            <a:r>
              <a:rPr lang="en-US"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 communication</a:t>
            </a:r>
            <a:endParaRPr/>
          </a:p>
        </p:txBody>
      </p:sp>
      <p:pic>
        <p:nvPicPr>
          <p:cNvPr id="821" name="Google Shape;821;p3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8035875" y="2729170"/>
            <a:ext cx="518803" cy="448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822" name="Google Shape;822;p3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8057798" y="4633411"/>
            <a:ext cx="474957" cy="474957"/>
          </a:xfrm>
          <a:prstGeom prst="rect">
            <a:avLst/>
          </a:prstGeom>
          <a:noFill/>
          <a:ln>
            <a:noFill/>
          </a:ln>
        </p:spPr>
      </p:pic>
      <p:sp>
        <p:nvSpPr>
          <p:cNvPr id="823" name="Google Shape;823;p3"/>
          <p:cNvSpPr txBox="1"/>
          <p:nvPr/>
        </p:nvSpPr>
        <p:spPr>
          <a:xfrm>
            <a:off x="7163311" y="5172519"/>
            <a:ext cx="2263930" cy="7848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Content services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Converting insights into </a:t>
            </a:r>
            <a:r>
              <a:rPr lang="en-US" sz="1400" b="0" i="0" u="sng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written</a:t>
            </a:r>
            <a:r>
              <a:rPr lang="en-US"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 communication</a:t>
            </a:r>
            <a:endParaRPr/>
          </a:p>
        </p:txBody>
      </p:sp>
      <p:sp>
        <p:nvSpPr>
          <p:cNvPr id="824" name="Google Shape;824;p3"/>
          <p:cNvSpPr/>
          <p:nvPr/>
        </p:nvSpPr>
        <p:spPr>
          <a:xfrm>
            <a:off x="9600149" y="3067379"/>
            <a:ext cx="2040989" cy="2040989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5" name="Google Shape;825;p3"/>
          <p:cNvSpPr/>
          <p:nvPr/>
        </p:nvSpPr>
        <p:spPr>
          <a:xfrm>
            <a:off x="10021095" y="3386475"/>
            <a:ext cx="121752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2800"/>
              <a:buFont typeface="Arial"/>
              <a:buNone/>
            </a:pPr>
            <a:r>
              <a:rPr lang="en-US" sz="2800" b="1" i="0" u="none" strike="noStrike" cap="none">
                <a:solidFill>
                  <a:srgbClr val="0F47F2"/>
                </a:solidFill>
                <a:latin typeface="Calibri"/>
                <a:ea typeface="Calibri"/>
                <a:cs typeface="Calibri"/>
                <a:sym typeface="Calibri"/>
              </a:rPr>
              <a:t>Impact</a:t>
            </a:r>
            <a:endParaRPr sz="2400" b="1" i="0" u="none" strike="noStrike" cap="none">
              <a:solidFill>
                <a:srgbClr val="0F47F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26" name="Google Shape;826;p3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0283149" y="4020427"/>
            <a:ext cx="674988" cy="774174"/>
          </a:xfrm>
          <a:prstGeom prst="rect">
            <a:avLst/>
          </a:prstGeom>
          <a:noFill/>
          <a:ln>
            <a:noFill/>
          </a:ln>
        </p:spPr>
      </p:pic>
      <p:sp>
        <p:nvSpPr>
          <p:cNvPr id="827" name="Google Shape;827;p3"/>
          <p:cNvSpPr/>
          <p:nvPr/>
        </p:nvSpPr>
        <p:spPr>
          <a:xfrm>
            <a:off x="2768808" y="2379166"/>
            <a:ext cx="2129741" cy="3939358"/>
          </a:xfrm>
          <a:prstGeom prst="roundRect">
            <a:avLst>
              <a:gd name="adj" fmla="val 16667"/>
            </a:avLst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8" name="Google Shape;828;p3"/>
          <p:cNvSpPr/>
          <p:nvPr/>
        </p:nvSpPr>
        <p:spPr>
          <a:xfrm>
            <a:off x="7246082" y="2379166"/>
            <a:ext cx="2129741" cy="3939358"/>
          </a:xfrm>
          <a:prstGeom prst="roundRect">
            <a:avLst>
              <a:gd name="adj" fmla="val 16667"/>
            </a:avLst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829" name="Google Shape;829;p3"/>
          <p:cNvCxnSpPr/>
          <p:nvPr/>
        </p:nvCxnSpPr>
        <p:spPr>
          <a:xfrm rot="10800000">
            <a:off x="2289071" y="4089985"/>
            <a:ext cx="473179" cy="0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30" name="Google Shape;830;p3"/>
          <p:cNvCxnSpPr/>
          <p:nvPr/>
        </p:nvCxnSpPr>
        <p:spPr>
          <a:xfrm rot="10800000">
            <a:off x="4906317" y="4089985"/>
            <a:ext cx="473179" cy="0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31" name="Google Shape;831;p3"/>
          <p:cNvCxnSpPr/>
          <p:nvPr/>
        </p:nvCxnSpPr>
        <p:spPr>
          <a:xfrm rot="10800000">
            <a:off x="6772903" y="4089985"/>
            <a:ext cx="473179" cy="0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32" name="Google Shape;832;p3"/>
          <p:cNvCxnSpPr/>
          <p:nvPr/>
        </p:nvCxnSpPr>
        <p:spPr>
          <a:xfrm rot="10800000">
            <a:off x="9375823" y="4089985"/>
            <a:ext cx="473179" cy="0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8" name="Google Shape;908;p14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nfomineo offers a full suite of Data Analytics Services</a:t>
            </a:r>
            <a:endParaRPr/>
          </a:p>
        </p:txBody>
      </p:sp>
      <p:sp>
        <p:nvSpPr>
          <p:cNvPr id="909" name="Google Shape;909;p14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t>5</a:t>
            </a:fld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0" name="Google Shape;910;p145"/>
          <p:cNvSpPr/>
          <p:nvPr/>
        </p:nvSpPr>
        <p:spPr>
          <a:xfrm>
            <a:off x="4294326" y="1654536"/>
            <a:ext cx="3595646" cy="4449087"/>
          </a:xfrm>
          <a:prstGeom prst="roundRect">
            <a:avLst>
              <a:gd name="adj" fmla="val 3729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1764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41666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ts val="1200"/>
              <a:buFont typeface="Calibri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1" name="Google Shape;911;p145"/>
          <p:cNvSpPr/>
          <p:nvPr/>
        </p:nvSpPr>
        <p:spPr>
          <a:xfrm>
            <a:off x="4430325" y="1740300"/>
            <a:ext cx="330309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Business Oriented Approach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2" name="Google Shape;912;p145"/>
          <p:cNvSpPr/>
          <p:nvPr/>
        </p:nvSpPr>
        <p:spPr>
          <a:xfrm>
            <a:off x="539400" y="1652273"/>
            <a:ext cx="3599407" cy="4449087"/>
          </a:xfrm>
          <a:prstGeom prst="roundRect">
            <a:avLst>
              <a:gd name="adj" fmla="val 3729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1764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41666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ts val="1200"/>
              <a:buFont typeface="Calibri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3" name="Google Shape;913;p145"/>
          <p:cNvSpPr/>
          <p:nvPr/>
        </p:nvSpPr>
        <p:spPr>
          <a:xfrm>
            <a:off x="912900" y="1738037"/>
            <a:ext cx="285240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hree Levels of Analytics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4" name="Google Shape;914;p145"/>
          <p:cNvSpPr txBox="1"/>
          <p:nvPr/>
        </p:nvSpPr>
        <p:spPr>
          <a:xfrm>
            <a:off x="1999869" y="2497863"/>
            <a:ext cx="2095141" cy="581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173038" marR="0" lvl="1" indent="-1730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400"/>
              <a:buFont typeface="Noto Sans Symbols"/>
              <a:buChar char="▪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Exploration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173038" marR="0" lvl="1" indent="-1730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400"/>
              <a:buFont typeface="Noto Sans Symbols"/>
              <a:buChar char="▪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tatistical Analysi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173038" marR="0" lvl="1" indent="-1730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400"/>
              <a:buFont typeface="Noto Sans Symbols"/>
              <a:buChar char="▪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Visualization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5" name="Google Shape;915;p145"/>
          <p:cNvSpPr/>
          <p:nvPr/>
        </p:nvSpPr>
        <p:spPr>
          <a:xfrm>
            <a:off x="8045492" y="1654536"/>
            <a:ext cx="3595646" cy="4449087"/>
          </a:xfrm>
          <a:prstGeom prst="roundRect">
            <a:avLst>
              <a:gd name="adj" fmla="val 3729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1764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41666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ts val="1200"/>
              <a:buFont typeface="Calibri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6" name="Google Shape;916;p145"/>
          <p:cNvSpPr/>
          <p:nvPr/>
        </p:nvSpPr>
        <p:spPr>
          <a:xfrm>
            <a:off x="8174957" y="1740300"/>
            <a:ext cx="328355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hree Types of Data Services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7" name="Google Shape;917;p145"/>
          <p:cNvSpPr/>
          <p:nvPr/>
        </p:nvSpPr>
        <p:spPr>
          <a:xfrm rot="5400000">
            <a:off x="761447" y="2254276"/>
            <a:ext cx="1032415" cy="1068873"/>
          </a:xfrm>
          <a:prstGeom prst="roundRect">
            <a:avLst>
              <a:gd name="adj" fmla="val 13304"/>
            </a:avLst>
          </a:prstGeom>
          <a:solidFill>
            <a:srgbClr val="00B0F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8" name="Google Shape;918;p145"/>
          <p:cNvSpPr/>
          <p:nvPr/>
        </p:nvSpPr>
        <p:spPr>
          <a:xfrm>
            <a:off x="775608" y="2574185"/>
            <a:ext cx="1004093" cy="429054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nalysis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9" name="Google Shape;919;p145"/>
          <p:cNvSpPr/>
          <p:nvPr/>
        </p:nvSpPr>
        <p:spPr>
          <a:xfrm rot="5400000">
            <a:off x="613875" y="4712802"/>
            <a:ext cx="1340491" cy="1094433"/>
          </a:xfrm>
          <a:prstGeom prst="roundRect">
            <a:avLst>
              <a:gd name="adj" fmla="val 10321"/>
            </a:avLst>
          </a:prstGeom>
          <a:solidFill>
            <a:srgbClr val="00B0F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0" name="Google Shape;920;p145"/>
          <p:cNvSpPr/>
          <p:nvPr/>
        </p:nvSpPr>
        <p:spPr>
          <a:xfrm>
            <a:off x="782075" y="4949605"/>
            <a:ext cx="1004093" cy="346021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Engineering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1" name="Google Shape;921;p145"/>
          <p:cNvSpPr txBox="1"/>
          <p:nvPr/>
        </p:nvSpPr>
        <p:spPr>
          <a:xfrm>
            <a:off x="1956122" y="4589773"/>
            <a:ext cx="2095017" cy="1357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3038" marR="0" lvl="1" indent="-1730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400"/>
              <a:buFont typeface="Noto Sans Symbols"/>
              <a:buChar char="▪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Sourcing and Integration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173038" marR="0" lvl="1" indent="-1730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400"/>
              <a:buFont typeface="Noto Sans Symbols"/>
              <a:buChar char="▪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Cleaning and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173038" marR="0" lvl="1" indent="-1730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400"/>
              <a:buFont typeface="Noto Sans Symbols"/>
              <a:buChar char="▪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Feature Engineering and Data transformation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173038" marR="0" lvl="1" indent="-1730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400"/>
              <a:buFont typeface="Noto Sans Symbols"/>
              <a:buChar char="▪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odel Deployment and scalability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2" name="Google Shape;922;p145"/>
          <p:cNvSpPr txBox="1"/>
          <p:nvPr/>
        </p:nvSpPr>
        <p:spPr>
          <a:xfrm>
            <a:off x="4371117" y="2399542"/>
            <a:ext cx="1590493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Brainshoring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: business sense and critical thinking applied to our clients’ problems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3" name="Google Shape;923;p145"/>
          <p:cNvSpPr/>
          <p:nvPr/>
        </p:nvSpPr>
        <p:spPr>
          <a:xfrm>
            <a:off x="4644156" y="3159746"/>
            <a:ext cx="1214273" cy="1215895"/>
          </a:xfrm>
          <a:prstGeom prst="flowChartConnector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  <a:effectLst>
            <a:outerShdw blurRad="40000" dist="20000" dir="5400000" rotWithShape="0">
              <a:srgbClr val="000000">
                <a:alpha val="36862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Business </a:t>
            </a: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</a:b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nd Data </a:t>
            </a: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</a:b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Understanding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4" name="Google Shape;924;p145"/>
          <p:cNvSpPr/>
          <p:nvPr/>
        </p:nvSpPr>
        <p:spPr>
          <a:xfrm>
            <a:off x="5485013" y="3796163"/>
            <a:ext cx="1214273" cy="1215895"/>
          </a:xfrm>
          <a:prstGeom prst="flowChartConnector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  <a:effectLst>
            <a:outerShdw blurRad="40000" dist="20000" dir="5400000" rotWithShape="0">
              <a:srgbClr val="000000">
                <a:alpha val="36862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elivery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anagement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5" name="Google Shape;925;p145"/>
          <p:cNvSpPr/>
          <p:nvPr/>
        </p:nvSpPr>
        <p:spPr>
          <a:xfrm>
            <a:off x="6325869" y="3159746"/>
            <a:ext cx="1214273" cy="1215895"/>
          </a:xfrm>
          <a:prstGeom prst="flowChartConnector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  <a:effectLst>
            <a:outerShdw blurRad="40000" dist="20000" dir="5400000" rotWithShape="0">
              <a:srgbClr val="000000">
                <a:alpha val="36862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gile Methodology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6" name="Google Shape;926;p145"/>
          <p:cNvSpPr txBox="1"/>
          <p:nvPr/>
        </p:nvSpPr>
        <p:spPr>
          <a:xfrm>
            <a:off x="6207941" y="2410844"/>
            <a:ext cx="1540991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We work in an iterative approach to be always align to our clients’ needs and expectations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7" name="Google Shape;927;p145"/>
          <p:cNvSpPr txBox="1"/>
          <p:nvPr/>
        </p:nvSpPr>
        <p:spPr>
          <a:xfrm>
            <a:off x="5150432" y="5049878"/>
            <a:ext cx="1883434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We take care of release and change management, including versioning, unit tests, model validation, documentation, etc.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28" name="Google Shape;928;p145" descr="Research outlin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82076" y="2322451"/>
            <a:ext cx="385248" cy="331848"/>
          </a:xfrm>
          <a:prstGeom prst="rect">
            <a:avLst/>
          </a:prstGeom>
          <a:noFill/>
          <a:ln>
            <a:noFill/>
          </a:ln>
        </p:spPr>
      </p:pic>
      <p:sp>
        <p:nvSpPr>
          <p:cNvPr id="929" name="Google Shape;929;p145"/>
          <p:cNvSpPr/>
          <p:nvPr/>
        </p:nvSpPr>
        <p:spPr>
          <a:xfrm rot="5400000">
            <a:off x="767914" y="3412910"/>
            <a:ext cx="1032415" cy="1068873"/>
          </a:xfrm>
          <a:prstGeom prst="roundRect">
            <a:avLst>
              <a:gd name="adj" fmla="val 12183"/>
            </a:avLst>
          </a:prstGeom>
          <a:solidFill>
            <a:srgbClr val="00B0F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0" name="Google Shape;930;p145"/>
          <p:cNvSpPr/>
          <p:nvPr/>
        </p:nvSpPr>
        <p:spPr>
          <a:xfrm>
            <a:off x="782076" y="3774336"/>
            <a:ext cx="1004093" cy="346021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cience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1" name="Google Shape;931;p145"/>
          <p:cNvSpPr txBox="1"/>
          <p:nvPr/>
        </p:nvSpPr>
        <p:spPr>
          <a:xfrm>
            <a:off x="1937186" y="3656497"/>
            <a:ext cx="2095017" cy="581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3038" marR="0" lvl="1" indent="-1730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400"/>
              <a:buFont typeface="Noto Sans Symbols"/>
              <a:buChar char="▪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odel building and tuning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173038" marR="0" lvl="1" indent="-1730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ts val="1400"/>
              <a:buFont typeface="Noto Sans Symbols"/>
              <a:buChar char="▪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odel evaluation and retraining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2" name="Google Shape;932;p145" descr="Business Growth outline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65713" y="3548899"/>
            <a:ext cx="385248" cy="331848"/>
          </a:xfrm>
          <a:prstGeom prst="rect">
            <a:avLst/>
          </a:prstGeom>
          <a:noFill/>
          <a:ln>
            <a:noFill/>
          </a:ln>
        </p:spPr>
      </p:pic>
      <p:pic>
        <p:nvPicPr>
          <p:cNvPr id="933" name="Google Shape;933;p145" descr="Server outline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flipH="1">
            <a:off x="712025" y="4680061"/>
            <a:ext cx="385248" cy="331848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45"/>
          <p:cNvSpPr/>
          <p:nvPr/>
        </p:nvSpPr>
        <p:spPr>
          <a:xfrm>
            <a:off x="8136070" y="2272505"/>
            <a:ext cx="3414490" cy="1052310"/>
          </a:xfrm>
          <a:prstGeom prst="roundRect">
            <a:avLst>
              <a:gd name="adj" fmla="val 16667"/>
            </a:avLst>
          </a:prstGeom>
          <a:solidFill>
            <a:srgbClr val="CCF1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cquire and Prepar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Unleash the power of Information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iscover, assess, clean, and transform Data from multiple sources with eas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5" name="Google Shape;935;p145"/>
          <p:cNvSpPr/>
          <p:nvPr/>
        </p:nvSpPr>
        <p:spPr>
          <a:xfrm>
            <a:off x="8109491" y="3491653"/>
            <a:ext cx="3414490" cy="1275012"/>
          </a:xfrm>
          <a:prstGeom prst="roundRect">
            <a:avLst>
              <a:gd name="adj" fmla="val 16667"/>
            </a:avLst>
          </a:prstGeom>
          <a:solidFill>
            <a:srgbClr val="CCF1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nalyze</a:t>
            </a:r>
            <a:endParaRPr kumimoji="0" sz="1000" b="1" i="0" u="none" strike="noStrike" kern="0" cap="none" spc="0" normalizeH="0" baseline="0" noProof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mpower your business with dynamic insights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with unified Self-Service Analytics;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ackle critical business challenges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using cutting-edge models</a:t>
            </a: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6" name="Google Shape;936;p145"/>
          <p:cNvSpPr/>
          <p:nvPr/>
        </p:nvSpPr>
        <p:spPr>
          <a:xfrm>
            <a:off x="8136070" y="4929479"/>
            <a:ext cx="3414490" cy="1052310"/>
          </a:xfrm>
          <a:prstGeom prst="roundRect">
            <a:avLst>
              <a:gd name="adj" fmla="val 16667"/>
            </a:avLst>
          </a:prstGeom>
          <a:solidFill>
            <a:srgbClr val="CCF1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eploy</a:t>
            </a:r>
            <a:endParaRPr kumimoji="0" sz="200" b="1" i="0" u="none" strike="noStrike" kern="0" cap="none" spc="0" normalizeH="0" baseline="0" noProof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Bringing Models to Lif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eamless deployment, monitoring, and integration into client's infrastructure for maximum impact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937" name="Google Shape;937;p145"/>
          <p:cNvCxnSpPr/>
          <p:nvPr/>
        </p:nvCxnSpPr>
        <p:spPr>
          <a:xfrm>
            <a:off x="8287069" y="2113807"/>
            <a:ext cx="3133142" cy="0"/>
          </a:xfrm>
          <a:prstGeom prst="straightConnector1">
            <a:avLst/>
          </a:prstGeom>
          <a:noFill/>
          <a:ln w="28575" cap="flat" cmpd="sng">
            <a:solidFill>
              <a:srgbClr val="00B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38" name="Google Shape;938;p145"/>
          <p:cNvCxnSpPr/>
          <p:nvPr/>
        </p:nvCxnSpPr>
        <p:spPr>
          <a:xfrm>
            <a:off x="742601" y="2113807"/>
            <a:ext cx="3133142" cy="0"/>
          </a:xfrm>
          <a:prstGeom prst="straightConnector1">
            <a:avLst/>
          </a:prstGeom>
          <a:noFill/>
          <a:ln w="28575" cap="flat" cmpd="sng">
            <a:solidFill>
              <a:srgbClr val="00B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39" name="Google Shape;939;p145"/>
          <p:cNvCxnSpPr/>
          <p:nvPr/>
        </p:nvCxnSpPr>
        <p:spPr>
          <a:xfrm>
            <a:off x="4521242" y="2113807"/>
            <a:ext cx="3133142" cy="0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40" name="Google Shape;940;p145"/>
          <p:cNvSpPr txBox="1"/>
          <p:nvPr/>
        </p:nvSpPr>
        <p:spPr>
          <a:xfrm>
            <a:off x="10976464" y="292682"/>
            <a:ext cx="533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nalytic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1" name="Google Shape;941;p145"/>
          <p:cNvSpPr/>
          <p:nvPr/>
        </p:nvSpPr>
        <p:spPr>
          <a:xfrm>
            <a:off x="11557889" y="135255"/>
            <a:ext cx="468744" cy="468742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42" name="Google Shape;942;p145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1627442" y="209253"/>
            <a:ext cx="322766" cy="32276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4CA003-A49B-216C-521D-6B01E3BE7A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9708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2" name="Google Shape;592;p31"/>
          <p:cNvSpPr txBox="1">
            <a:spLocks noGrp="1"/>
          </p:cNvSpPr>
          <p:nvPr>
            <p:ph type="title"/>
          </p:nvPr>
        </p:nvSpPr>
        <p:spPr>
          <a:xfrm>
            <a:off x="1685210" y="448568"/>
            <a:ext cx="8822694" cy="8040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IN" sz="2903" b="1" dirty="0">
                <a:solidFill>
                  <a:srgbClr val="0F47F2"/>
                </a:solidFill>
              </a:rPr>
              <a:t>Use Case Example : A Comprehensive Dashboard of Key Metrics and Performance Indicators</a:t>
            </a:r>
            <a:endParaRPr dirty="0"/>
          </a:p>
        </p:txBody>
      </p:sp>
      <p:sp>
        <p:nvSpPr>
          <p:cNvPr id="593" name="Google Shape;593;p31"/>
          <p:cNvSpPr/>
          <p:nvPr/>
        </p:nvSpPr>
        <p:spPr>
          <a:xfrm>
            <a:off x="1359660" y="1414878"/>
            <a:ext cx="4496431" cy="5193484"/>
          </a:xfrm>
          <a:prstGeom prst="roundRect">
            <a:avLst>
              <a:gd name="adj" fmla="val 6245"/>
            </a:avLst>
          </a:prstGeom>
          <a:solidFill>
            <a:schemeClr val="lt1"/>
          </a:solidFill>
          <a:ln>
            <a:noFill/>
          </a:ln>
          <a:effectLst>
            <a:outerShdw blurRad="3810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72733" tIns="36355" rIns="72733" bIns="36355" anchor="ctr" anchorCtr="0">
            <a:noAutofit/>
          </a:bodyPr>
          <a:lstStyle/>
          <a:p>
            <a:pPr algn="ctr" defTabSz="829544"/>
            <a:endParaRPr sz="1114">
              <a:solidFill>
                <a:srgbClr val="FFFFFF"/>
              </a:solidFill>
            </a:endParaRPr>
          </a:p>
        </p:txBody>
      </p:sp>
      <p:sp>
        <p:nvSpPr>
          <p:cNvPr id="594" name="Google Shape;594;p31"/>
          <p:cNvSpPr/>
          <p:nvPr/>
        </p:nvSpPr>
        <p:spPr>
          <a:xfrm>
            <a:off x="1359660" y="1414878"/>
            <a:ext cx="4496431" cy="551950"/>
          </a:xfrm>
          <a:prstGeom prst="roundRect">
            <a:avLst>
              <a:gd name="adj" fmla="val 2040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72733" tIns="36355" rIns="72733" bIns="36355" anchor="ctr" anchorCtr="0">
            <a:noAutofit/>
          </a:bodyPr>
          <a:lstStyle/>
          <a:p>
            <a:pPr algn="ctr" defTabSz="829544"/>
            <a:endParaRPr sz="1114">
              <a:solidFill>
                <a:srgbClr val="FFFFFF"/>
              </a:solidFill>
            </a:endParaRPr>
          </a:p>
        </p:txBody>
      </p:sp>
      <p:sp>
        <p:nvSpPr>
          <p:cNvPr id="595" name="Google Shape;595;p31"/>
          <p:cNvSpPr txBox="1"/>
          <p:nvPr/>
        </p:nvSpPr>
        <p:spPr>
          <a:xfrm>
            <a:off x="2742535" y="1576109"/>
            <a:ext cx="1730681" cy="237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829544">
              <a:lnSpc>
                <a:spcPct val="85000"/>
              </a:lnSpc>
            </a:pPr>
            <a:r>
              <a:rPr lang="en-IN" sz="1814">
                <a:solidFill>
                  <a:srgbClr val="FFFFFF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Achievements</a:t>
            </a:r>
            <a:endParaRPr sz="1814"/>
          </a:p>
        </p:txBody>
      </p:sp>
      <p:sp>
        <p:nvSpPr>
          <p:cNvPr id="596" name="Google Shape;596;p31"/>
          <p:cNvSpPr txBox="1"/>
          <p:nvPr/>
        </p:nvSpPr>
        <p:spPr>
          <a:xfrm>
            <a:off x="1516281" y="2059309"/>
            <a:ext cx="4264241" cy="4355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2939" tIns="41458" rIns="82939" bIns="41458" anchor="t" anchorCtr="0">
            <a:spAutoFit/>
          </a:bodyPr>
          <a:lstStyle/>
          <a:p>
            <a:pPr marL="259232" indent="-259232" defTabSz="829544">
              <a:buSzPts val="1800"/>
              <a:buFont typeface="Arial"/>
              <a:buChar char="•"/>
            </a:pPr>
            <a:r>
              <a:rPr lang="en-IN" sz="1633" dirty="0">
                <a:latin typeface="Calibri"/>
                <a:ea typeface="Calibri"/>
                <a:cs typeface="Calibri"/>
                <a:sym typeface="Calibri"/>
              </a:rPr>
              <a:t>A </a:t>
            </a:r>
            <a:r>
              <a:rPr lang="en-IN" sz="1633" b="1" dirty="0">
                <a:latin typeface="Calibri"/>
                <a:ea typeface="Calibri"/>
                <a:cs typeface="Calibri"/>
                <a:sym typeface="Calibri"/>
              </a:rPr>
              <a:t>data model </a:t>
            </a:r>
            <a:r>
              <a:rPr lang="en-IN" sz="1633" dirty="0">
                <a:latin typeface="Calibri"/>
                <a:ea typeface="Calibri"/>
                <a:cs typeface="Calibri"/>
                <a:sym typeface="Calibri"/>
              </a:rPr>
              <a:t>has been elaborated considering that </a:t>
            </a:r>
            <a:r>
              <a:rPr lang="en-IN" sz="1633" b="1" dirty="0">
                <a:latin typeface="Calibri"/>
                <a:ea typeface="Calibri"/>
                <a:cs typeface="Calibri"/>
                <a:sym typeface="Calibri"/>
              </a:rPr>
              <a:t>5 tools </a:t>
            </a:r>
            <a:r>
              <a:rPr lang="en-IN" sz="1633" dirty="0">
                <a:latin typeface="Calibri"/>
                <a:ea typeface="Calibri"/>
                <a:cs typeface="Calibri"/>
                <a:sym typeface="Calibri"/>
              </a:rPr>
              <a:t>were identified to contain the Data source needed </a:t>
            </a:r>
            <a:endParaRPr sz="1270" dirty="0"/>
          </a:p>
          <a:p>
            <a:pPr marL="259232" indent="-155539" defTabSz="829544">
              <a:buSzPts val="1800"/>
            </a:pPr>
            <a:endParaRPr sz="1633" dirty="0">
              <a:latin typeface="Calibri"/>
              <a:ea typeface="Calibri"/>
              <a:cs typeface="Calibri"/>
              <a:sym typeface="Calibri"/>
            </a:endParaRPr>
          </a:p>
          <a:p>
            <a:pPr marL="259232" indent="-259232" defTabSz="829544">
              <a:buSzPts val="1800"/>
              <a:buFont typeface="Arial"/>
              <a:buChar char="•"/>
            </a:pPr>
            <a:r>
              <a:rPr lang="en-IN" sz="1633" b="1" dirty="0">
                <a:latin typeface="Calibri"/>
                <a:ea typeface="Calibri"/>
                <a:cs typeface="Calibri"/>
                <a:sym typeface="Calibri"/>
              </a:rPr>
              <a:t>14 source reports </a:t>
            </a:r>
            <a:r>
              <a:rPr lang="en-IN" sz="1633" dirty="0">
                <a:latin typeface="Calibri"/>
                <a:ea typeface="Calibri"/>
                <a:cs typeface="Calibri"/>
                <a:sym typeface="Calibri"/>
              </a:rPr>
              <a:t>have been created and their extractions’ have been automatized using APIs</a:t>
            </a:r>
            <a:endParaRPr sz="1270" dirty="0"/>
          </a:p>
          <a:p>
            <a:pPr marL="259232" indent="-155539" defTabSz="829544">
              <a:buSzPts val="1800"/>
            </a:pPr>
            <a:endParaRPr sz="1633" dirty="0">
              <a:latin typeface="Calibri"/>
              <a:ea typeface="Calibri"/>
              <a:cs typeface="Calibri"/>
              <a:sym typeface="Calibri"/>
            </a:endParaRPr>
          </a:p>
          <a:p>
            <a:pPr marL="259232" indent="-259232" defTabSz="829544">
              <a:buSzPts val="1800"/>
              <a:buFont typeface="Arial"/>
              <a:buChar char="•"/>
            </a:pPr>
            <a:r>
              <a:rPr lang="en-IN" sz="1633" b="1" dirty="0">
                <a:latin typeface="Calibri"/>
                <a:ea typeface="Calibri"/>
                <a:cs typeface="Calibri"/>
                <a:sym typeface="Calibri"/>
              </a:rPr>
              <a:t>Data Quality Checks </a:t>
            </a:r>
            <a:r>
              <a:rPr lang="en-IN" sz="1633" dirty="0">
                <a:latin typeface="Calibri"/>
                <a:ea typeface="Calibri"/>
                <a:cs typeface="Calibri"/>
                <a:sym typeface="Calibri"/>
              </a:rPr>
              <a:t>have been automatized given business rules</a:t>
            </a:r>
            <a:endParaRPr sz="1270" dirty="0"/>
          </a:p>
          <a:p>
            <a:pPr defTabSz="829544"/>
            <a:endParaRPr sz="1633" dirty="0">
              <a:latin typeface="Calibri"/>
              <a:ea typeface="Calibri"/>
              <a:cs typeface="Calibri"/>
              <a:sym typeface="Calibri"/>
            </a:endParaRPr>
          </a:p>
          <a:p>
            <a:pPr marL="259232" indent="-259232" defTabSz="829544">
              <a:buSzPts val="1800"/>
              <a:buFont typeface="Arial"/>
              <a:buChar char="•"/>
            </a:pPr>
            <a:r>
              <a:rPr lang="en-IN" sz="1633" dirty="0">
                <a:latin typeface="Calibri"/>
                <a:ea typeface="Calibri"/>
                <a:cs typeface="Calibri"/>
                <a:sym typeface="Calibri"/>
              </a:rPr>
              <a:t>The Report created contained </a:t>
            </a:r>
            <a:r>
              <a:rPr lang="en-IN" sz="1633" b="1" dirty="0">
                <a:latin typeface="Calibri"/>
                <a:ea typeface="Calibri"/>
                <a:cs typeface="Calibri"/>
                <a:sym typeface="Calibri"/>
              </a:rPr>
              <a:t>3 main sections </a:t>
            </a:r>
            <a:r>
              <a:rPr lang="en-IN" sz="1633" dirty="0">
                <a:latin typeface="Calibri"/>
                <a:ea typeface="Calibri"/>
                <a:cs typeface="Calibri"/>
                <a:sym typeface="Calibri"/>
              </a:rPr>
              <a:t>: Administrative, Professional Development, Recruitment</a:t>
            </a:r>
            <a:endParaRPr sz="1270" dirty="0"/>
          </a:p>
          <a:p>
            <a:pPr marL="259232" indent="-155539" defTabSz="829544">
              <a:buSzPts val="1800"/>
            </a:pPr>
            <a:endParaRPr sz="1633" dirty="0">
              <a:latin typeface="Calibri"/>
              <a:ea typeface="Calibri"/>
              <a:cs typeface="Calibri"/>
              <a:sym typeface="Calibri"/>
            </a:endParaRPr>
          </a:p>
          <a:p>
            <a:pPr marL="259232" indent="-259232" defTabSz="829544">
              <a:buSzPts val="1800"/>
              <a:buFont typeface="Arial"/>
              <a:buChar char="•"/>
            </a:pPr>
            <a:r>
              <a:rPr lang="en-IN" sz="1633" b="1" dirty="0">
                <a:latin typeface="Calibri"/>
                <a:ea typeface="Calibri"/>
                <a:cs typeface="Calibri"/>
                <a:sym typeface="Calibri"/>
              </a:rPr>
              <a:t>A full-fledged report with 30 Dashboards,   150+ graphs </a:t>
            </a:r>
            <a:r>
              <a:rPr lang="en-IN" sz="1633" dirty="0">
                <a:latin typeface="Calibri"/>
                <a:ea typeface="Calibri"/>
                <a:cs typeface="Calibri"/>
                <a:sym typeface="Calibri"/>
              </a:rPr>
              <a:t>and </a:t>
            </a:r>
            <a:r>
              <a:rPr lang="en-IN" sz="1633" b="1" dirty="0">
                <a:latin typeface="Calibri"/>
                <a:ea typeface="Calibri"/>
                <a:cs typeface="Calibri"/>
                <a:sym typeface="Calibri"/>
              </a:rPr>
              <a:t>50+ KPIs</a:t>
            </a:r>
            <a:endParaRPr sz="1270" dirty="0"/>
          </a:p>
        </p:txBody>
      </p:sp>
      <p:pic>
        <p:nvPicPr>
          <p:cNvPr id="597" name="Google Shape;597;p3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354499" y="4173611"/>
            <a:ext cx="4391709" cy="2422183"/>
          </a:xfrm>
          <a:prstGeom prst="rect">
            <a:avLst/>
          </a:prstGeom>
          <a:noFill/>
          <a:ln>
            <a:noFill/>
          </a:ln>
        </p:spPr>
      </p:pic>
      <p:pic>
        <p:nvPicPr>
          <p:cNvPr id="598" name="Google Shape;598;p31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012711" y="1424394"/>
            <a:ext cx="4632534" cy="258722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6FEF3C4-70D2-7E25-452D-493BB51E17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01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7" name="Google Shape;407;p6"/>
          <p:cNvSpPr txBox="1">
            <a:spLocks noGrp="1"/>
          </p:cNvSpPr>
          <p:nvPr>
            <p:ph type="title"/>
          </p:nvPr>
        </p:nvSpPr>
        <p:spPr>
          <a:xfrm>
            <a:off x="737591" y="4145369"/>
            <a:ext cx="8494899" cy="14957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lv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</a:pPr>
            <a:r>
              <a:rPr lang="fr-FR" sz="54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ntexte &amp; </a:t>
            </a:r>
            <a:br>
              <a:rPr lang="fr-FR" sz="54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fr-FR" sz="54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roposition de solutio</a:t>
            </a:r>
            <a:r>
              <a:rPr lang="fr-FR" sz="5400" b="1" dirty="0">
                <a:latin typeface="Calibri"/>
                <a:ea typeface="Calibri"/>
                <a:cs typeface="Calibri"/>
                <a:sym typeface="Calibri"/>
              </a:rPr>
              <a:t>n</a:t>
            </a:r>
            <a:endParaRPr lang="fr-FR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7F38B0-4864-18E0-D0A8-7D28C585E1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7019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7F38B0-4864-18E0-D0A8-7D28C585E1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716511B-A5A3-15CD-4667-DAE693C401F5}"/>
              </a:ext>
            </a:extLst>
          </p:cNvPr>
          <p:cNvSpPr/>
          <p:nvPr/>
        </p:nvSpPr>
        <p:spPr>
          <a:xfrm>
            <a:off x="261257" y="1385730"/>
            <a:ext cx="4718957" cy="49116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13" name="Google Shape;413;p7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Contexte &amp; Proposition de solution : Baromètre des salair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6AE71B-0538-1AF9-CEE5-257EF449C1C8}"/>
              </a:ext>
            </a:extLst>
          </p:cNvPr>
          <p:cNvSpPr txBox="1"/>
          <p:nvPr/>
        </p:nvSpPr>
        <p:spPr>
          <a:xfrm>
            <a:off x="550863" y="1742004"/>
            <a:ext cx="4132884" cy="263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fr-F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’équipe </a:t>
            </a:r>
            <a:r>
              <a:rPr lang="fr-FR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usiness </a:t>
            </a:r>
            <a:r>
              <a:rPr lang="fr-FR" sz="16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earch</a:t>
            </a:r>
            <a:r>
              <a:rPr lang="fr-FR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recueillie auprès de diverses sources de nombreuses données sur les salaires des ingénieurs et techniciens au Maroc. </a:t>
            </a:r>
          </a:p>
          <a:p>
            <a:pPr marL="285750" indent="-285750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endParaRPr lang="fr-FR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fr-FR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’AMDIE souhaiterait avoir un baromètre salarial multi- critères </a:t>
            </a:r>
            <a:r>
              <a:rPr lang="fr-F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0A56A3-CC28-9EA2-8C30-D2CF1506A796}"/>
              </a:ext>
            </a:extLst>
          </p:cNvPr>
          <p:cNvSpPr txBox="1"/>
          <p:nvPr/>
        </p:nvSpPr>
        <p:spPr>
          <a:xfrm>
            <a:off x="971565" y="4482430"/>
            <a:ext cx="6096000" cy="15314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fr-F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fil d’employé</a:t>
            </a:r>
          </a:p>
          <a:p>
            <a:pPr marL="285750" lvl="4" indent="-285750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fr-F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éniorité </a:t>
            </a:r>
          </a:p>
          <a:p>
            <a:pPr marL="285750" lvl="4" indent="-285750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fr-F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laire net vs Brut</a:t>
            </a:r>
          </a:p>
          <a:p>
            <a:pPr marL="285750" lvl="4" indent="-285750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fr-F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épartition par rég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7482B66-EC53-C6EB-6C09-6F16DF4BFB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47442" y="2135376"/>
            <a:ext cx="3991737" cy="2641226"/>
          </a:xfrm>
          <a:prstGeom prst="rect">
            <a:avLst/>
          </a:prstGeom>
        </p:spPr>
      </p:pic>
      <p:sp>
        <p:nvSpPr>
          <p:cNvPr id="13" name="Arrow: Curved Down 12">
            <a:extLst>
              <a:ext uri="{FF2B5EF4-FFF2-40B4-BE49-F238E27FC236}">
                <a16:creationId xmlns:a16="http://schemas.microsoft.com/office/drawing/2014/main" id="{047FA5AA-36A2-D78C-40CD-BC9239DF3F65}"/>
              </a:ext>
            </a:extLst>
          </p:cNvPr>
          <p:cNvSpPr/>
          <p:nvPr/>
        </p:nvSpPr>
        <p:spPr>
          <a:xfrm>
            <a:off x="8164317" y="2354247"/>
            <a:ext cx="424511" cy="160352"/>
          </a:xfrm>
          <a:prstGeom prst="curvedDownArrow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205BF8B-5942-2CAD-8E61-B4BA8591503E}"/>
              </a:ext>
            </a:extLst>
          </p:cNvPr>
          <p:cNvSpPr txBox="1"/>
          <p:nvPr/>
        </p:nvSpPr>
        <p:spPr>
          <a:xfrm>
            <a:off x="5215919" y="1449616"/>
            <a:ext cx="39917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600" b="1" dirty="0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emple d’interpolation des salaires via l’écart à la moyenne nationale sur la rég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DA7B73-BE42-EB16-C32A-10DC3EEF81CF}"/>
              </a:ext>
            </a:extLst>
          </p:cNvPr>
          <p:cNvSpPr/>
          <p:nvPr/>
        </p:nvSpPr>
        <p:spPr>
          <a:xfrm>
            <a:off x="6715049" y="4343402"/>
            <a:ext cx="4925786" cy="18048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/>
              <a:t>Example par Brahim</a:t>
            </a:r>
          </a:p>
          <a:p>
            <a:pPr algn="ctr"/>
            <a:r>
              <a:rPr lang="fr-FR" sz="2000" b="1" dirty="0"/>
              <a:t>carte</a:t>
            </a:r>
          </a:p>
        </p:txBody>
      </p:sp>
    </p:spTree>
    <p:extLst>
      <p:ext uri="{BB962C8B-B14F-4D97-AF65-F5344CB8AC3E}">
        <p14:creationId xmlns:p14="http://schemas.microsoft.com/office/powerpoint/2010/main" val="21536984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7F38B0-4864-18E0-D0A8-7D28C585E1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460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7F38B0-4864-18E0-D0A8-7D28C585E1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3" name="Google Shape;413;p7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Contexte &amp; Proposition de solution : </a:t>
            </a:r>
            <a:r>
              <a:rPr lang="fr-FR" dirty="0" err="1"/>
              <a:t>Dashboards</a:t>
            </a:r>
            <a:r>
              <a:rPr lang="fr-FR" dirty="0"/>
              <a:t> des cluste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0F43C3F-8170-E480-07C6-CADA533A8BE2}"/>
              </a:ext>
            </a:extLst>
          </p:cNvPr>
          <p:cNvSpPr txBox="1"/>
          <p:nvPr/>
        </p:nvSpPr>
        <p:spPr>
          <a:xfrm>
            <a:off x="154400" y="1438595"/>
            <a:ext cx="4937760" cy="5228904"/>
          </a:xfrm>
          <a:prstGeom prst="rect">
            <a:avLst/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R="0" lvl="0" algn="just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kumimoji="0" lang="fr-FR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L’équipe </a:t>
            </a:r>
            <a:r>
              <a:rPr kumimoji="0" lang="fr-FR" sz="16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Business </a:t>
            </a:r>
            <a:r>
              <a:rPr kumimoji="0" lang="fr-FR" sz="1600" b="1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Research</a:t>
            </a:r>
            <a:r>
              <a:rPr kumimoji="0" lang="fr-FR" sz="16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 a</a:t>
            </a:r>
            <a:r>
              <a:rPr lang="fr-F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llecté des données pour créer un ensemble de reports et KPIs autour de 4 thématiques sur Excel :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fr-F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pital Humain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fr-F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gistique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fr-F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ergie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fr-F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ncier (en cours de construction)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endParaRPr lang="fr-FR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fr-FR" sz="16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	Grande volumétrie des </a:t>
            </a:r>
            <a:r>
              <a:rPr lang="fr-FR" sz="1600" b="1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sets</a:t>
            </a:r>
            <a:endParaRPr lang="fr-FR" sz="160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fr-FR" sz="16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	Expérience utilisateur non optimale </a:t>
            </a:r>
          </a:p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endParaRPr lang="fr-FR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DDE44D-8825-F416-C92F-1DA0CDF8EAE4}"/>
              </a:ext>
            </a:extLst>
          </p:cNvPr>
          <p:cNvSpPr txBox="1"/>
          <p:nvPr/>
        </p:nvSpPr>
        <p:spPr>
          <a:xfrm>
            <a:off x="5568043" y="1438595"/>
            <a:ext cx="5983923" cy="5228904"/>
          </a:xfrm>
          <a:prstGeom prst="rect">
            <a:avLst/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 marR="0" lvl="0" algn="just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endParaRPr kumimoji="0" lang="fr-FR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endParaRPr lang="fr-FR" sz="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fr-F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éfinition d’un ensemble de KPIs </a:t>
            </a:r>
            <a:r>
              <a:rPr lang="fr-FR" sz="16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ulti-critères</a:t>
            </a:r>
            <a:r>
              <a:rPr lang="fr-F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fr-F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éation de Dashboard interactifs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fr-FR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5E1BD4A-BB4A-3D53-1824-82942A38D5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39682" y="1438595"/>
            <a:ext cx="712334" cy="71233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7FE18BF-BDF3-34EB-E3E2-9D6BE261D1A5}"/>
              </a:ext>
            </a:extLst>
          </p:cNvPr>
          <p:cNvSpPr txBox="1"/>
          <p:nvPr/>
        </p:nvSpPr>
        <p:spPr>
          <a:xfrm>
            <a:off x="6452016" y="1557343"/>
            <a:ext cx="3405866" cy="464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fr-FR" sz="1800" b="1" dirty="0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position de Solut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189D36E-E9B4-7F21-3CB6-F8A88F27B98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8395" t="27204" r="54074" b="55591"/>
          <a:stretch/>
        </p:blipFill>
        <p:spPr>
          <a:xfrm>
            <a:off x="154400" y="5343203"/>
            <a:ext cx="901700" cy="9144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436A23B-F319-CC8D-111C-33190F393E94}"/>
              </a:ext>
            </a:extLst>
          </p:cNvPr>
          <p:cNvSpPr/>
          <p:nvPr/>
        </p:nvSpPr>
        <p:spPr>
          <a:xfrm>
            <a:off x="6096000" y="3804671"/>
            <a:ext cx="4925786" cy="18048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/>
              <a:t>Example par Brahim</a:t>
            </a:r>
          </a:p>
        </p:txBody>
      </p:sp>
    </p:spTree>
    <p:extLst>
      <p:ext uri="{BB962C8B-B14F-4D97-AF65-F5344CB8AC3E}">
        <p14:creationId xmlns:p14="http://schemas.microsoft.com/office/powerpoint/2010/main" val="2752492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8</TotalTime>
  <Words>491</Words>
  <Application>Microsoft Office PowerPoint</Application>
  <PresentationFormat>Widescreen</PresentationFormat>
  <Paragraphs>106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Calibri</vt:lpstr>
      <vt:lpstr>Wingdings</vt:lpstr>
      <vt:lpstr>Franklin Gothic</vt:lpstr>
      <vt:lpstr>Arial</vt:lpstr>
      <vt:lpstr>Noto Sans Symbols</vt:lpstr>
      <vt:lpstr>Libre Franklin</vt:lpstr>
      <vt:lpstr>Office Theme</vt:lpstr>
      <vt:lpstr>1_Office Theme</vt:lpstr>
      <vt:lpstr>2_Office Theme</vt:lpstr>
      <vt:lpstr>think-cell Slide</vt:lpstr>
      <vt:lpstr>AMDIE - Infomineo  Data Analytics Services </vt:lpstr>
      <vt:lpstr>PowerPoint Presentation</vt:lpstr>
      <vt:lpstr>Data Analytics Services</vt:lpstr>
      <vt:lpstr>Infomineo services – Transforming data into impact</vt:lpstr>
      <vt:lpstr>Infomineo offers a full suite of Data Analytics Services</vt:lpstr>
      <vt:lpstr>Use Case Example : A Comprehensive Dashboard of Key Metrics and Performance Indicators</vt:lpstr>
      <vt:lpstr>Contexte &amp;  Proposition de solution</vt:lpstr>
      <vt:lpstr>Contexte &amp; Proposition de solution : Baromètre des salaires</vt:lpstr>
      <vt:lpstr>Contexte &amp; Proposition de solution : Dashboards des clusters</vt:lpstr>
      <vt:lpstr>Budget &amp; Nest Step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User 3</dc:creator>
  <cp:lastModifiedBy>Casa 3</cp:lastModifiedBy>
  <cp:revision>2</cp:revision>
  <dcterms:created xsi:type="dcterms:W3CDTF">2020-07-22T11:09:55Z</dcterms:created>
  <dcterms:modified xsi:type="dcterms:W3CDTF">2023-05-05T15:24:12Z</dcterms:modified>
</cp:coreProperties>
</file>